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6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453" r:id="rId4"/>
    <p:sldMasterId id="2147484555" r:id="rId5"/>
    <p:sldMasterId id="2147484486" r:id="rId6"/>
    <p:sldMasterId id="2147484510" r:id="rId7"/>
    <p:sldMasterId id="2147484533" r:id="rId8"/>
  </p:sldMasterIdLst>
  <p:notesMasterIdLst>
    <p:notesMasterId r:id="rId15"/>
  </p:notesMasterIdLst>
  <p:handoutMasterIdLst>
    <p:handoutMasterId r:id="rId16"/>
  </p:handoutMasterIdLst>
  <p:sldIdLst>
    <p:sldId id="2147471525" r:id="rId9"/>
    <p:sldId id="2147471532" r:id="rId10"/>
    <p:sldId id="2147471533" r:id="rId11"/>
    <p:sldId id="2147471534" r:id="rId12"/>
    <p:sldId id="2147471535" r:id="rId13"/>
    <p:sldId id="2147471537" r:id="rId14"/>
  </p:sldIdLst>
  <p:sldSz cx="13442950" cy="7561263"/>
  <p:notesSz cx="6735763" cy="9866313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umimoji="1" sz="900" kern="1200">
        <a:solidFill>
          <a:srgbClr val="000000"/>
        </a:solidFill>
        <a:latin typeface="EYInterstate Light" pitchFamily="2" charset="0"/>
        <a:ea typeface="ＭＳ Ｐゴシック" pitchFamily="50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sz="900" kern="1200">
        <a:solidFill>
          <a:srgbClr val="000000"/>
        </a:solidFill>
        <a:latin typeface="EYInterstate Light" pitchFamily="2" charset="0"/>
        <a:ea typeface="ＭＳ Ｐゴシック" pitchFamily="50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sz="900" kern="1200">
        <a:solidFill>
          <a:srgbClr val="000000"/>
        </a:solidFill>
        <a:latin typeface="EYInterstate Light" pitchFamily="2" charset="0"/>
        <a:ea typeface="ＭＳ Ｐゴシック" pitchFamily="50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sz="900" kern="1200">
        <a:solidFill>
          <a:srgbClr val="000000"/>
        </a:solidFill>
        <a:latin typeface="EYInterstate Light" pitchFamily="2" charset="0"/>
        <a:ea typeface="ＭＳ Ｐゴシック" pitchFamily="50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sz="900" kern="1200">
        <a:solidFill>
          <a:srgbClr val="000000"/>
        </a:solidFill>
        <a:latin typeface="EYInterstate Light" pitchFamily="2" charset="0"/>
        <a:ea typeface="ＭＳ Ｐゴシック" pitchFamily="50" charset="-128"/>
        <a:cs typeface="+mn-cs"/>
      </a:defRPr>
    </a:lvl5pPr>
    <a:lvl6pPr marL="2286000" algn="l" defTabSz="914400" rtl="0" eaLnBrk="1" latinLnBrk="0" hangingPunct="1">
      <a:defRPr kumimoji="1" sz="900" kern="1200">
        <a:solidFill>
          <a:srgbClr val="000000"/>
        </a:solidFill>
        <a:latin typeface="EYInterstate Light" pitchFamily="2" charset="0"/>
        <a:ea typeface="ＭＳ Ｐゴシック" pitchFamily="50" charset="-128"/>
        <a:cs typeface="+mn-cs"/>
      </a:defRPr>
    </a:lvl6pPr>
    <a:lvl7pPr marL="2743200" algn="l" defTabSz="914400" rtl="0" eaLnBrk="1" latinLnBrk="0" hangingPunct="1">
      <a:defRPr kumimoji="1" sz="900" kern="1200">
        <a:solidFill>
          <a:srgbClr val="000000"/>
        </a:solidFill>
        <a:latin typeface="EYInterstate Light" pitchFamily="2" charset="0"/>
        <a:ea typeface="ＭＳ Ｐゴシック" pitchFamily="50" charset="-128"/>
        <a:cs typeface="+mn-cs"/>
      </a:defRPr>
    </a:lvl7pPr>
    <a:lvl8pPr marL="3200400" algn="l" defTabSz="914400" rtl="0" eaLnBrk="1" latinLnBrk="0" hangingPunct="1">
      <a:defRPr kumimoji="1" sz="900" kern="1200">
        <a:solidFill>
          <a:srgbClr val="000000"/>
        </a:solidFill>
        <a:latin typeface="EYInterstate Light" pitchFamily="2" charset="0"/>
        <a:ea typeface="ＭＳ Ｐゴシック" pitchFamily="50" charset="-128"/>
        <a:cs typeface="+mn-cs"/>
      </a:defRPr>
    </a:lvl8pPr>
    <a:lvl9pPr marL="3657600" algn="l" defTabSz="914400" rtl="0" eaLnBrk="1" latinLnBrk="0" hangingPunct="1">
      <a:defRPr kumimoji="1" sz="900" kern="1200">
        <a:solidFill>
          <a:srgbClr val="000000"/>
        </a:solidFill>
        <a:latin typeface="EYInterstate Light" pitchFamily="2" charset="0"/>
        <a:ea typeface="ＭＳ Ｐゴシック" pitchFamily="50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1" userDrawn="1">
          <p15:clr>
            <a:srgbClr val="A4A3A4"/>
          </p15:clr>
        </p15:guide>
        <p15:guide id="2" pos="4234" userDrawn="1">
          <p15:clr>
            <a:srgbClr val="A4A3A4"/>
          </p15:clr>
        </p15:guide>
        <p15:guide id="3" pos="288" userDrawn="1">
          <p15:clr>
            <a:srgbClr val="A4A3A4"/>
          </p15:clr>
        </p15:guide>
        <p15:guide id="4" pos="82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1" name="作成者" initials="A" lastIdx="0" clrIdx="1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B757"/>
    <a:srgbClr val="67DD87"/>
    <a:srgbClr val="57E188"/>
    <a:srgbClr val="A9D18E"/>
    <a:srgbClr val="70AD47"/>
    <a:srgbClr val="F8FEF8"/>
    <a:srgbClr val="548434"/>
    <a:srgbClr val="C55A11"/>
    <a:srgbClr val="F5FDF5"/>
    <a:srgbClr val="FFF9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714988B-8A02-4A85-BCC7-019B345E83C6}" v="1" dt="2024-01-24T12:33:10.860"/>
  </p1510:revLst>
</p1510:revInfo>
</file>

<file path=ppt/tableStyles.xml><?xml version="1.0" encoding="utf-8"?>
<a:tblStyleLst xmlns:a="http://schemas.openxmlformats.org/drawingml/2006/main" def="{F2DE63D5-997A-4646-A377-4702673A728D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012ECD-51FC-41F1-AA8D-1B2483CD663E}" styleName="淡色スタイル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FECB4D8-DB02-4DC6-A0A2-4F2EBAE1DC90}" styleName="中間スタイル 1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2DE63D5-997A-4646-A377-4702673A728D}" styleName="淡色スタイル 2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ABFCF23-3B69-468F-B69F-88F6DE6A72F2}" styleName="中間スタイル 1 - アクセント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129" autoAdjust="0"/>
    <p:restoredTop sz="96344" autoAdjust="0"/>
  </p:normalViewPr>
  <p:slideViewPr>
    <p:cSldViewPr snapToGrid="0">
      <p:cViewPr varScale="1">
        <p:scale>
          <a:sx n="96" d="100"/>
          <a:sy n="96" d="100"/>
        </p:scale>
        <p:origin x="912" y="84"/>
      </p:cViewPr>
      <p:guideLst>
        <p:guide orient="horz" pos="2381"/>
        <p:guide pos="4234"/>
        <p:guide pos="288"/>
        <p:guide pos="82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4566" y="828"/>
      </p:cViewPr>
      <p:guideLst>
        <p:guide orient="horz" pos="3108"/>
        <p:guide pos="212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2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-1576"/>
            <a:ext cx="2920873" cy="494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722" tIns="0" rIns="19722" bIns="0" numCol="1" anchor="t" anchorCtr="0" compatLnSpc="1">
            <a:prstTxWarp prst="textNoShape">
              <a:avLst/>
            </a:prstTxWarp>
          </a:bodyPr>
          <a:lstStyle>
            <a:lvl1pPr algn="l" defTabSz="944647" eaLnBrk="0" hangingPunct="0">
              <a:spcAft>
                <a:spcPct val="0"/>
              </a:spcAft>
              <a:buClrTx/>
              <a:buSzTx/>
              <a:buFontTx/>
              <a:buNone/>
              <a:defRPr kumimoji="0" sz="1000" i="1">
                <a:solidFill>
                  <a:schemeClr val="tx1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4892" y="-1576"/>
            <a:ext cx="2920873" cy="494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722" tIns="0" rIns="19722" bIns="0" numCol="1" anchor="t" anchorCtr="0" compatLnSpc="1">
            <a:prstTxWarp prst="textNoShape">
              <a:avLst/>
            </a:prstTxWarp>
          </a:bodyPr>
          <a:lstStyle>
            <a:lvl1pPr algn="r" defTabSz="944647" eaLnBrk="0" hangingPunct="0">
              <a:spcAft>
                <a:spcPct val="0"/>
              </a:spcAft>
              <a:buClrTx/>
              <a:buSzTx/>
              <a:buFontTx/>
              <a:buNone/>
              <a:defRPr kumimoji="0" sz="1000" i="1">
                <a:solidFill>
                  <a:schemeClr val="tx1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6D3BA201-031A-4DAC-A0DC-BDA99D9CCB0B}" type="datetime4">
              <a:rPr lang="ja-JP" altLang="en-US" smtClean="0"/>
              <a:t>2024年1月25日</a:t>
            </a:fld>
            <a:endParaRPr lang="en-US" altLang="ja-JP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4892" y="9373079"/>
            <a:ext cx="2920873" cy="49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722" tIns="0" rIns="19722" bIns="0" numCol="1" anchor="b" anchorCtr="0" compatLnSpc="1">
            <a:prstTxWarp prst="textNoShape">
              <a:avLst/>
            </a:prstTxWarp>
          </a:bodyPr>
          <a:lstStyle>
            <a:lvl5pPr marL="1892608" lvl="4" algn="r" defTabSz="944647" eaLnBrk="0" hangingPunct="0">
              <a:spcAft>
                <a:spcPct val="0"/>
              </a:spcAft>
              <a:buClrTx/>
              <a:buSzTx/>
              <a:buFontTx/>
              <a:buNone/>
              <a:defRPr kumimoji="0" sz="1000" i="1">
                <a:solidFill>
                  <a:schemeClr val="tx1"/>
                </a:solidFill>
                <a:latin typeface="Arial" charset="0"/>
                <a:ea typeface="+mn-ea"/>
              </a:defRPr>
            </a:lvl5pPr>
          </a:lstStyle>
          <a:p>
            <a:pPr lvl="4">
              <a:defRPr/>
            </a:pPr>
            <a:fld id="{2482A4BC-C122-4210-9464-06C118DDE7D9}" type="slidenum">
              <a:rPr lang="ja-JP" altLang="en-US"/>
              <a:pPr lvl="4">
                <a:defRPr/>
              </a:pPr>
              <a:t>‹#›</a:t>
            </a:fld>
            <a:endParaRPr lang="en-US" altLang="ja-JP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4143" y="9390410"/>
            <a:ext cx="2914589" cy="458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792" tIns="0" rIns="14792" bIns="0" numCol="1" anchor="b" anchorCtr="0" compatLnSpc="1">
            <a:prstTxWarp prst="textNoShape">
              <a:avLst/>
            </a:prstTxWarp>
          </a:bodyPr>
          <a:lstStyle>
            <a:lvl1pPr algn="l" defTabSz="510440" eaLnBrk="0" hangingPunct="0">
              <a:spcAft>
                <a:spcPct val="0"/>
              </a:spcAft>
              <a:buClrTx/>
              <a:buSzTx/>
              <a:buFontTx/>
              <a:buNone/>
              <a:defRPr kumimoji="0" sz="700" i="1">
                <a:solidFill>
                  <a:schemeClr val="accent1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12875481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-1576"/>
            <a:ext cx="2920873" cy="494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722" tIns="0" rIns="19722" bIns="0" numCol="1" anchor="t" anchorCtr="0" compatLnSpc="1">
            <a:prstTxWarp prst="textNoShape">
              <a:avLst/>
            </a:prstTxWarp>
          </a:bodyPr>
          <a:lstStyle>
            <a:lvl1pPr algn="l" defTabSz="944647" eaLnBrk="0" hangingPunct="0">
              <a:spcAft>
                <a:spcPct val="0"/>
              </a:spcAft>
              <a:buClrTx/>
              <a:buSzTx/>
              <a:buFontTx/>
              <a:buNone/>
              <a:defRPr kumimoji="0" sz="1000" i="1">
                <a:solidFill>
                  <a:schemeClr val="tx1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4892" y="-1576"/>
            <a:ext cx="2920873" cy="494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722" tIns="0" rIns="19722" bIns="0" numCol="1" anchor="t" anchorCtr="0" compatLnSpc="1">
            <a:prstTxWarp prst="textNoShape">
              <a:avLst/>
            </a:prstTxWarp>
          </a:bodyPr>
          <a:lstStyle>
            <a:lvl1pPr algn="r" defTabSz="944647" eaLnBrk="0" hangingPunct="0">
              <a:spcAft>
                <a:spcPct val="0"/>
              </a:spcAft>
              <a:buClrTx/>
              <a:buSzTx/>
              <a:buFontTx/>
              <a:buNone/>
              <a:defRPr kumimoji="0" sz="1000" i="1">
                <a:solidFill>
                  <a:schemeClr val="tx1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2786EDC4-EBBE-43FC-99A1-0BDF432C3E26}" type="datetime4">
              <a:rPr lang="ja-JP" altLang="en-US" smtClean="0"/>
              <a:t>2024年1月25日</a:t>
            </a:fld>
            <a:endParaRPr lang="en-US" altLang="ja-JP"/>
          </a:p>
        </p:txBody>
      </p:sp>
      <p:sp>
        <p:nvSpPr>
          <p:cNvPr id="2458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8425" y="749300"/>
            <a:ext cx="6542088" cy="368141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20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8732" y="4688117"/>
            <a:ext cx="4938304" cy="4439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679" tIns="47660" rIns="93679" bIns="4766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noProof="0"/>
              <a:t>Click to edit Master text styles</a:t>
            </a:r>
          </a:p>
          <a:p>
            <a:pPr lvl="1"/>
            <a:r>
              <a:rPr lang="en-US" altLang="ja-JP" noProof="0"/>
              <a:t>Second level</a:t>
            </a:r>
          </a:p>
          <a:p>
            <a:pPr lvl="2"/>
            <a:r>
              <a:rPr lang="en-US" altLang="ja-JP" noProof="0"/>
              <a:t>Third level</a:t>
            </a:r>
          </a:p>
          <a:p>
            <a:pPr lvl="3"/>
            <a:r>
              <a:rPr lang="en-US" altLang="ja-JP" noProof="0"/>
              <a:t>Fourth level</a:t>
            </a:r>
          </a:p>
          <a:p>
            <a:pPr lvl="4"/>
            <a:r>
              <a:rPr lang="en-US" altLang="ja-JP" noProof="0"/>
              <a:t>Fifth level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5" y="9373079"/>
            <a:ext cx="2920873" cy="49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722" tIns="0" rIns="19722" bIns="0" numCol="1" anchor="b" anchorCtr="0" compatLnSpc="1">
            <a:prstTxWarp prst="textNoShape">
              <a:avLst/>
            </a:prstTxWarp>
          </a:bodyPr>
          <a:lstStyle>
            <a:lvl1pPr algn="l" defTabSz="944647" eaLnBrk="0" hangingPunct="0">
              <a:spcAft>
                <a:spcPct val="0"/>
              </a:spcAft>
              <a:buClrTx/>
              <a:buSzTx/>
              <a:buFontTx/>
              <a:buNone/>
              <a:defRPr kumimoji="0" sz="1000" i="1">
                <a:solidFill>
                  <a:schemeClr val="tx1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4892" y="9373079"/>
            <a:ext cx="2920873" cy="49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722" tIns="0" rIns="19722" bIns="0" numCol="1" anchor="b" anchorCtr="0" compatLnSpc="1">
            <a:prstTxWarp prst="textNoShape">
              <a:avLst/>
            </a:prstTxWarp>
          </a:bodyPr>
          <a:lstStyle>
            <a:lvl1pPr algn="r" defTabSz="944647" eaLnBrk="0" hangingPunct="0">
              <a:spcAft>
                <a:spcPct val="0"/>
              </a:spcAft>
              <a:buClrTx/>
              <a:buSzTx/>
              <a:buFontTx/>
              <a:buNone/>
              <a:defRPr kumimoji="0" sz="1000" i="1">
                <a:solidFill>
                  <a:schemeClr val="tx1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76112920-6095-4B0A-AFC9-82E2C2B490BA}" type="slidenum">
              <a:rPr lang="ja-JP" altLang="en-US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477451819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defTabSz="911225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911225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911225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68425" algn="l" defTabSz="911225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911225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1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Freeform 6"/>
          <p:cNvSpPr>
            <a:spLocks/>
          </p:cNvSpPr>
          <p:nvPr/>
        </p:nvSpPr>
        <p:spPr bwMode="auto">
          <a:xfrm>
            <a:off x="702482" y="540631"/>
            <a:ext cx="6381171" cy="3348000"/>
          </a:xfrm>
          <a:custGeom>
            <a:avLst/>
            <a:gdLst>
              <a:gd name="T0" fmla="*/ 0 w 3128"/>
              <a:gd name="T1" fmla="*/ 552 h 2114"/>
              <a:gd name="T2" fmla="*/ 0 w 3128"/>
              <a:gd name="T3" fmla="*/ 2114 h 2114"/>
              <a:gd name="T4" fmla="*/ 3128 w 3128"/>
              <a:gd name="T5" fmla="*/ 2114 h 2114"/>
              <a:gd name="T6" fmla="*/ 3128 w 3128"/>
              <a:gd name="T7" fmla="*/ 0 h 2114"/>
              <a:gd name="T8" fmla="*/ 0 w 3128"/>
              <a:gd name="T9" fmla="*/ 552 h 2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28" h="2114">
                <a:moveTo>
                  <a:pt x="0" y="552"/>
                </a:moveTo>
                <a:lnTo>
                  <a:pt x="0" y="2114"/>
                </a:lnTo>
                <a:lnTo>
                  <a:pt x="3128" y="2114"/>
                </a:lnTo>
                <a:lnTo>
                  <a:pt x="3128" y="0"/>
                </a:lnTo>
                <a:lnTo>
                  <a:pt x="0" y="552"/>
                </a:lnTo>
                <a:close/>
              </a:path>
            </a:pathLst>
          </a:custGeom>
          <a:solidFill>
            <a:srgbClr val="FFB46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/>
            <a:endParaRPr lang="en-GB" sz="900" spc="20" baseline="0">
              <a:solidFill>
                <a:schemeClr val="bg1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32" name="タイトル 14"/>
          <p:cNvSpPr>
            <a:spLocks noGrp="1"/>
          </p:cNvSpPr>
          <p:nvPr>
            <p:ph type="title" hasCustomPrompt="1"/>
          </p:nvPr>
        </p:nvSpPr>
        <p:spPr>
          <a:xfrm>
            <a:off x="996649" y="2002673"/>
            <a:ext cx="5724826" cy="846853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fontAlgn="auto">
              <a:lnSpc>
                <a:spcPct val="100000"/>
              </a:lnSpc>
              <a:spcBef>
                <a:spcPts val="0"/>
              </a:spcBef>
              <a:defRPr sz="2200" b="1" kern="1200" spc="0" baseline="0">
                <a:solidFill>
                  <a:sysClr val="windowText" lastClr="000000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タイトル</a:t>
            </a:r>
          </a:p>
        </p:txBody>
      </p:sp>
      <p:sp>
        <p:nvSpPr>
          <p:cNvPr id="33" name="テキスト プレースホルダ 16"/>
          <p:cNvSpPr>
            <a:spLocks noGrp="1"/>
          </p:cNvSpPr>
          <p:nvPr>
            <p:ph type="body" sz="quarter" idx="10" hasCustomPrompt="1"/>
          </p:nvPr>
        </p:nvSpPr>
        <p:spPr>
          <a:xfrm>
            <a:off x="996649" y="1591556"/>
            <a:ext cx="5724826" cy="239396"/>
          </a:xfrm>
          <a:prstGeom prst="rect">
            <a:avLst/>
          </a:prstGeom>
          <a:noFill/>
        </p:spPr>
        <p:txBody>
          <a:bodyPr lIns="0" tIns="0" rIns="0" bIns="0" anchor="t">
            <a:noAutofit/>
          </a:bodyPr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500" b="0" spc="0" baseline="0">
                <a:solidFill>
                  <a:sysClr val="windowText" lastClr="000000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 </a:t>
            </a:r>
            <a:r>
              <a:rPr lang="ja-JP" altLang="en-US"/>
              <a:t>御中</a:t>
            </a:r>
          </a:p>
        </p:txBody>
      </p:sp>
      <p:sp>
        <p:nvSpPr>
          <p:cNvPr id="34" name="テキスト プレースホルダ 16"/>
          <p:cNvSpPr>
            <a:spLocks noGrp="1"/>
          </p:cNvSpPr>
          <p:nvPr>
            <p:ph type="body" sz="quarter" idx="11" hasCustomPrompt="1"/>
          </p:nvPr>
        </p:nvSpPr>
        <p:spPr>
          <a:xfrm>
            <a:off x="996649" y="3307644"/>
            <a:ext cx="5721889" cy="243662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ysClr val="windowText" lastClr="000000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25" name="テキスト プレースホルダ 16"/>
          <p:cNvSpPr>
            <a:spLocks noGrp="1"/>
          </p:cNvSpPr>
          <p:nvPr>
            <p:ph type="body" sz="quarter" idx="12" hasCustomPrompt="1"/>
          </p:nvPr>
        </p:nvSpPr>
        <p:spPr>
          <a:xfrm>
            <a:off x="999586" y="3021246"/>
            <a:ext cx="5721889" cy="229955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350" spc="0" baseline="0">
                <a:solidFill>
                  <a:sysClr val="windowText" lastClr="000000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2309787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1">
            <a:extLst>
              <a:ext uri="{FF2B5EF4-FFF2-40B4-BE49-F238E27FC236}">
                <a16:creationId xmlns:a16="http://schemas.microsoft.com/office/drawing/2014/main" id="{174B109A-EDC3-45F0-8BBD-677FCDC83B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4778" y="3150868"/>
            <a:ext cx="11645690" cy="1259999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A0B98F9-28DF-45AF-9554-283B5B36EDE4}"/>
              </a:ext>
            </a:extLst>
          </p:cNvPr>
          <p:cNvSpPr txBox="1">
            <a:spLocks/>
          </p:cNvSpPr>
          <p:nvPr userDrawn="1"/>
        </p:nvSpPr>
        <p:spPr>
          <a:xfrm>
            <a:off x="-261" y="3150867"/>
            <a:ext cx="702742" cy="1260000"/>
          </a:xfrm>
          <a:prstGeom prst="rect">
            <a:avLst/>
          </a:prstGeom>
          <a:solidFill>
            <a:srgbClr val="FF9831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178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53B741FA-6E97-4188-9002-936FC6D932E4}"/>
              </a:ext>
            </a:extLst>
          </p:cNvPr>
          <p:cNvSpPr/>
          <p:nvPr userDrawn="1"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082C65">
              <a:alpha val="8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/>
            <a:endParaRPr kumimoji="1" lang="ja-JP" altLang="en-US" sz="1200" spc="2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8564909A-C113-45A2-B9D3-071BEDD2ED15}"/>
              </a:ext>
            </a:extLst>
          </p:cNvPr>
          <p:cNvSpPr/>
          <p:nvPr userDrawn="1"/>
        </p:nvSpPr>
        <p:spPr>
          <a:xfrm>
            <a:off x="11143918" y="0"/>
            <a:ext cx="2299032" cy="472440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背景に写真を挿入することを前提にしている</a:t>
            </a:r>
          </a:p>
        </p:txBody>
      </p:sp>
      <p:sp>
        <p:nvSpPr>
          <p:cNvPr id="7" name="タイトル 4">
            <a:extLst>
              <a:ext uri="{FF2B5EF4-FFF2-40B4-BE49-F238E27FC236}">
                <a16:creationId xmlns:a16="http://schemas.microsoft.com/office/drawing/2014/main" id="{E2D499C8-05EF-44B4-9799-87A11E4F6A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5761158"/>
            <a:ext cx="13442949" cy="1260000"/>
          </a:xfrm>
          <a:prstGeom prst="rect">
            <a:avLst/>
          </a:prstGeom>
          <a:solidFill>
            <a:srgbClr val="2E2E38">
              <a:alpha val="80000"/>
            </a:srgbClr>
          </a:solidFill>
          <a:ln>
            <a:noFill/>
          </a:ln>
        </p:spPr>
        <p:txBody>
          <a:bodyPr lIns="900000" tIns="0" rIns="0" bIns="0" anchor="ctr"/>
          <a:lstStyle>
            <a:lvl1pPr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E1718A2-1858-4C26-AE4C-A42CBF6E4268}"/>
              </a:ext>
            </a:extLst>
          </p:cNvPr>
          <p:cNvSpPr txBox="1">
            <a:spLocks/>
          </p:cNvSpPr>
          <p:nvPr userDrawn="1"/>
        </p:nvSpPr>
        <p:spPr>
          <a:xfrm>
            <a:off x="-916766" y="5761158"/>
            <a:ext cx="702742" cy="126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D8BD0885-BB47-4A5E-B67E-D549DC6855D1}"/>
              </a:ext>
            </a:extLst>
          </p:cNvPr>
          <p:cNvSpPr/>
          <p:nvPr userDrawn="1"/>
        </p:nvSpPr>
        <p:spPr>
          <a:xfrm>
            <a:off x="-1988352" y="4806779"/>
            <a:ext cx="1696657" cy="822548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実際のスライドの上に、以下の黄色ボックスを乗せる</a:t>
            </a:r>
          </a:p>
        </p:txBody>
      </p:sp>
    </p:spTree>
    <p:extLst>
      <p:ext uri="{BB962C8B-B14F-4D97-AF65-F5344CB8AC3E}">
        <p14:creationId xmlns:p14="http://schemas.microsoft.com/office/powerpoint/2010/main" val="8804009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A26BA5A-2D2B-4FEF-82ED-F588A7B5520F}"/>
              </a:ext>
            </a:extLst>
          </p:cNvPr>
          <p:cNvSpPr/>
          <p:nvPr userDrawn="1"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082C65">
              <a:alpha val="8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/>
            <a:endParaRPr kumimoji="1" lang="ja-JP" altLang="en-US" sz="1200" spc="2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7A66ACEB-E63A-4C19-8A83-FD7E852942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764978"/>
            <a:ext cx="13442950" cy="125999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lIns="90000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2742A7FA-F632-446F-ACE9-69415B5EA6BF}"/>
              </a:ext>
            </a:extLst>
          </p:cNvPr>
          <p:cNvSpPr/>
          <p:nvPr userDrawn="1"/>
        </p:nvSpPr>
        <p:spPr>
          <a:xfrm>
            <a:off x="11143918" y="0"/>
            <a:ext cx="2299032" cy="472440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背景に写真を挿入することを前提にしている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A4EF6AD-6385-43A1-9598-36F7215016C3}"/>
              </a:ext>
            </a:extLst>
          </p:cNvPr>
          <p:cNvSpPr txBox="1">
            <a:spLocks/>
          </p:cNvSpPr>
          <p:nvPr userDrawn="1"/>
        </p:nvSpPr>
        <p:spPr>
          <a:xfrm>
            <a:off x="-994437" y="5764976"/>
            <a:ext cx="702742" cy="126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C3414484-D12A-4736-B8CD-91CE53FE505F}"/>
              </a:ext>
            </a:extLst>
          </p:cNvPr>
          <p:cNvSpPr/>
          <p:nvPr userDrawn="1"/>
        </p:nvSpPr>
        <p:spPr>
          <a:xfrm>
            <a:off x="-1988352" y="4806779"/>
            <a:ext cx="1696657" cy="822548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実際のスライドの上に、以下の黄色ボックスを乗せる</a:t>
            </a:r>
          </a:p>
        </p:txBody>
      </p:sp>
    </p:spTree>
    <p:extLst>
      <p:ext uri="{BB962C8B-B14F-4D97-AF65-F5344CB8AC3E}">
        <p14:creationId xmlns:p14="http://schemas.microsoft.com/office/powerpoint/2010/main" val="4093911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C779E1E-E64A-4D07-8775-F5850E621024}"/>
              </a:ext>
            </a:extLst>
          </p:cNvPr>
          <p:cNvSpPr txBox="1">
            <a:spLocks/>
          </p:cNvSpPr>
          <p:nvPr userDrawn="1"/>
        </p:nvSpPr>
        <p:spPr>
          <a:xfrm>
            <a:off x="0" y="1"/>
            <a:ext cx="181026" cy="75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C8E07BA0-F8A4-48A5-9061-34B24BDE88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1591696"/>
            <a:ext cx="11645690" cy="1044000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問合せ先タイトル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8A8F518-7535-43B6-BB08-B7E16B936A8C}"/>
              </a:ext>
            </a:extLst>
          </p:cNvPr>
          <p:cNvSpPr txBox="1">
            <a:spLocks/>
          </p:cNvSpPr>
          <p:nvPr userDrawn="1"/>
        </p:nvSpPr>
        <p:spPr>
          <a:xfrm>
            <a:off x="-260" y="1580248"/>
            <a:ext cx="181026" cy="1044000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5336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EC307041-69BD-4E0C-A6B6-19E01885799F}"/>
              </a:ext>
            </a:extLst>
          </p:cNvPr>
          <p:cNvSpPr txBox="1">
            <a:spLocks/>
          </p:cNvSpPr>
          <p:nvPr userDrawn="1"/>
        </p:nvSpPr>
        <p:spPr>
          <a:xfrm>
            <a:off x="-260" y="1592042"/>
            <a:ext cx="702742" cy="1044000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F6CB3E25-F953-4928-8ECF-566A86E21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06940" y="1591696"/>
            <a:ext cx="11633528" cy="1044000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問合せ先タイトル</a:t>
            </a:r>
          </a:p>
        </p:txBody>
      </p:sp>
    </p:spTree>
    <p:extLst>
      <p:ext uri="{BB962C8B-B14F-4D97-AF65-F5344CB8AC3E}">
        <p14:creationId xmlns:p14="http://schemas.microsoft.com/office/powerpoint/2010/main" val="35153664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1">
            <a:extLst>
              <a:ext uri="{FF2B5EF4-FFF2-40B4-BE49-F238E27FC236}">
                <a16:creationId xmlns:a16="http://schemas.microsoft.com/office/drawing/2014/main" id="{72C2B6F4-CAB6-41A3-A296-9325AFFC0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6261431"/>
            <a:ext cx="2556734" cy="348338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2000" b="1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問合せ先タイトル</a:t>
            </a:r>
          </a:p>
        </p:txBody>
      </p:sp>
    </p:spTree>
    <p:extLst>
      <p:ext uri="{BB962C8B-B14F-4D97-AF65-F5344CB8AC3E}">
        <p14:creationId xmlns:p14="http://schemas.microsoft.com/office/powerpoint/2010/main" val="37297763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10">
            <a:extLst>
              <a:ext uri="{FF2B5EF4-FFF2-40B4-BE49-F238E27FC236}">
                <a16:creationId xmlns:a16="http://schemas.microsoft.com/office/drawing/2014/main" id="{958C2D59-3DBD-4546-B127-0587E32BFD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  <p:sp>
        <p:nvSpPr>
          <p:cNvPr id="4" name="テキスト プレースホルダー 9">
            <a:extLst>
              <a:ext uri="{FF2B5EF4-FFF2-40B4-BE49-F238E27FC236}">
                <a16:creationId xmlns:a16="http://schemas.microsoft.com/office/drawing/2014/main" id="{448BB802-219C-4D0C-B6C4-FA6D1E8BB5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1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</p:spTree>
    <p:extLst>
      <p:ext uri="{BB962C8B-B14F-4D97-AF65-F5344CB8AC3E}">
        <p14:creationId xmlns:p14="http://schemas.microsoft.com/office/powerpoint/2010/main" val="199363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/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テキスト プレースホルダー 2">
            <a:extLst>
              <a:ext uri="{FF2B5EF4-FFF2-40B4-BE49-F238E27FC236}">
                <a16:creationId xmlns:a16="http://schemas.microsoft.com/office/drawing/2014/main" id="{D0EE814B-D29B-4779-9167-F3A5FE36EF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2230" y="1584326"/>
            <a:ext cx="12038238" cy="5436939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53975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900000" marR="0" indent="-180000" algn="just" defTabSz="903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spc="0" baseline="0">
                <a:solidFill>
                  <a:schemeClr val="tx2"/>
                </a:solidFill>
              </a:defRPr>
            </a:lvl3pPr>
            <a:lvl4pPr marL="1260000" marR="0" indent="-180000" algn="just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1077913" algn="l"/>
              </a:tabLst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4pPr>
            <a:lvl5pPr marL="1970088" indent="-176213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/>
            </a:lvl5pPr>
            <a:lvl7pPr marL="3129168" indent="0">
              <a:buNone/>
              <a:defRPr/>
            </a:lvl7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7" name="テキスト プレースホルダー 9">
            <a:extLst>
              <a:ext uri="{FF2B5EF4-FFF2-40B4-BE49-F238E27FC236}">
                <a16:creationId xmlns:a16="http://schemas.microsoft.com/office/drawing/2014/main" id="{1FB5442B-D0A8-42BF-9947-EDDB4B207A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9" name="タイトル 10">
            <a:extLst>
              <a:ext uri="{FF2B5EF4-FFF2-40B4-BE49-F238E27FC236}">
                <a16:creationId xmlns:a16="http://schemas.microsoft.com/office/drawing/2014/main" id="{039D7730-C383-44E3-B20D-571DF1CE9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2601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KeyMessage/Body/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プレースホルダー 9">
            <a:extLst>
              <a:ext uri="{FF2B5EF4-FFF2-40B4-BE49-F238E27FC236}">
                <a16:creationId xmlns:a16="http://schemas.microsoft.com/office/drawing/2014/main" id="{1FB5442B-D0A8-42BF-9947-EDDB4B207A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9" name="タイトル 10">
            <a:extLst>
              <a:ext uri="{FF2B5EF4-FFF2-40B4-BE49-F238E27FC236}">
                <a16:creationId xmlns:a16="http://schemas.microsoft.com/office/drawing/2014/main" id="{039D7730-C383-44E3-B20D-571DF1CE9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  <p:sp>
        <p:nvSpPr>
          <p:cNvPr id="17" name="テキスト プレースホルダー 16">
            <a:extLst>
              <a:ext uri="{FF2B5EF4-FFF2-40B4-BE49-F238E27FC236}">
                <a16:creationId xmlns:a16="http://schemas.microsoft.com/office/drawing/2014/main" id="{0645EE0F-DCA4-4F69-A2E1-FF86A740B5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2482" y="1584325"/>
            <a:ext cx="12037986" cy="5138738"/>
          </a:xfrm>
          <a:prstGeom prst="rect">
            <a:avLst/>
          </a:prstGeom>
        </p:spPr>
        <p:txBody>
          <a:bodyPr lIns="0" tIns="0" rIns="0" bIns="0"/>
          <a:lstStyle>
            <a:lvl1pPr marL="182563" indent="-1825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b="0" spc="0" baseline="0"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538163" marR="0" indent="-182563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b="0" spc="0" baseline="0"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892175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b="0" spc="0" baseline="0"/>
            </a:lvl3pPr>
            <a:lvl4pPr marL="1258888" indent="-1825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b="0" spc="0" baseline="0"/>
            </a:lvl4pPr>
            <a:lvl5pPr marL="2039030" indent="-403823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 b="0" baseline="0"/>
            </a:lvl5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19" name="テキスト プレースホルダー 18">
            <a:extLst>
              <a:ext uri="{FF2B5EF4-FFF2-40B4-BE49-F238E27FC236}">
                <a16:creationId xmlns:a16="http://schemas.microsoft.com/office/drawing/2014/main" id="{19BA2BD0-9B5F-4140-A079-58A3C3DA6D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2482" y="6723063"/>
            <a:ext cx="12037986" cy="29845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Clr>
                <a:schemeClr val="accent1"/>
              </a:buClr>
              <a:buSzPct val="100000"/>
              <a:buFontTx/>
              <a:buNone/>
              <a:defRPr sz="900" spc="0" baseline="0"/>
            </a:lvl1pPr>
          </a:lstStyle>
          <a:p>
            <a:pPr lvl="0"/>
            <a:r>
              <a:rPr kumimoji="1" lang="en-US" altLang="ja-JP"/>
              <a:t>Citation (9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9470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/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プレースホルダー 9">
            <a:extLst>
              <a:ext uri="{FF2B5EF4-FFF2-40B4-BE49-F238E27FC236}">
                <a16:creationId xmlns:a16="http://schemas.microsoft.com/office/drawing/2014/main" id="{1E79E0B2-3AE4-4BA1-9F83-6213DB5DF3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2230" y="6743700"/>
            <a:ext cx="12038238" cy="277813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9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Citation</a:t>
            </a:r>
            <a:r>
              <a:rPr kumimoji="1" lang="ja-JP" altLang="en-US"/>
              <a:t> </a:t>
            </a:r>
            <a:r>
              <a:rPr kumimoji="1" lang="en-US" altLang="ja-JP"/>
              <a:t>(9pt)</a:t>
            </a:r>
            <a:endParaRPr kumimoji="1" lang="ja-JP" altLang="en-US"/>
          </a:p>
        </p:txBody>
      </p:sp>
      <p:sp>
        <p:nvSpPr>
          <p:cNvPr id="9" name="テキスト プレースホルダー 9">
            <a:extLst>
              <a:ext uri="{FF2B5EF4-FFF2-40B4-BE49-F238E27FC236}">
                <a16:creationId xmlns:a16="http://schemas.microsoft.com/office/drawing/2014/main" id="{898E907A-398F-4219-A3B8-DC474CC7BA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8" name="タイトル 10">
            <a:extLst>
              <a:ext uri="{FF2B5EF4-FFF2-40B4-BE49-F238E27FC236}">
                <a16:creationId xmlns:a16="http://schemas.microsoft.com/office/drawing/2014/main" id="{DD84354A-E32B-4FEB-BC63-579A4C5C4B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311613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2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FE8EE0FE-D16D-499D-8EEB-A7476F8BA88C}"/>
              </a:ext>
            </a:extLst>
          </p:cNvPr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chemeClr val="accent3">
              <a:alpha val="89804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/>
            <a:endParaRPr kumimoji="1" lang="ja-JP" altLang="en-US" sz="1200" spc="2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75" name="Freeform 6"/>
          <p:cNvSpPr>
            <a:spLocks/>
          </p:cNvSpPr>
          <p:nvPr/>
        </p:nvSpPr>
        <p:spPr bwMode="auto">
          <a:xfrm>
            <a:off x="702482" y="540631"/>
            <a:ext cx="6381171" cy="3348000"/>
          </a:xfrm>
          <a:custGeom>
            <a:avLst/>
            <a:gdLst>
              <a:gd name="T0" fmla="*/ 0 w 3128"/>
              <a:gd name="T1" fmla="*/ 552 h 2114"/>
              <a:gd name="T2" fmla="*/ 0 w 3128"/>
              <a:gd name="T3" fmla="*/ 2114 h 2114"/>
              <a:gd name="T4" fmla="*/ 3128 w 3128"/>
              <a:gd name="T5" fmla="*/ 2114 h 2114"/>
              <a:gd name="T6" fmla="*/ 3128 w 3128"/>
              <a:gd name="T7" fmla="*/ 0 h 2114"/>
              <a:gd name="T8" fmla="*/ 0 w 3128"/>
              <a:gd name="T9" fmla="*/ 552 h 2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28" h="2114">
                <a:moveTo>
                  <a:pt x="0" y="552"/>
                </a:moveTo>
                <a:lnTo>
                  <a:pt x="0" y="2114"/>
                </a:lnTo>
                <a:lnTo>
                  <a:pt x="3128" y="2114"/>
                </a:lnTo>
                <a:lnTo>
                  <a:pt x="3128" y="0"/>
                </a:lnTo>
                <a:lnTo>
                  <a:pt x="0" y="552"/>
                </a:lnTo>
                <a:close/>
              </a:path>
            </a:pathLst>
          </a:custGeom>
          <a:solidFill>
            <a:srgbClr val="FFB46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/>
            <a:endParaRPr lang="en-GB" sz="900" spc="0" baseline="0">
              <a:solidFill>
                <a:schemeClr val="bg1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46E83B7F-EA03-482F-8888-E397D8B0DCF8}"/>
              </a:ext>
            </a:extLst>
          </p:cNvPr>
          <p:cNvSpPr/>
          <p:nvPr userDrawn="1"/>
        </p:nvSpPr>
        <p:spPr>
          <a:xfrm>
            <a:off x="11143918" y="0"/>
            <a:ext cx="2299032" cy="472440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背景に写真を挿入することを前提にしている</a:t>
            </a:r>
          </a:p>
        </p:txBody>
      </p:sp>
      <p:sp>
        <p:nvSpPr>
          <p:cNvPr id="13" name="タイトル 14">
            <a:extLst>
              <a:ext uri="{FF2B5EF4-FFF2-40B4-BE49-F238E27FC236}">
                <a16:creationId xmlns:a16="http://schemas.microsoft.com/office/drawing/2014/main" id="{604C3900-90F2-4B8A-AA36-E2B0ED5E8E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6649" y="2002673"/>
            <a:ext cx="5724826" cy="846853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fontAlgn="auto">
              <a:lnSpc>
                <a:spcPct val="100000"/>
              </a:lnSpc>
              <a:spcBef>
                <a:spcPts val="0"/>
              </a:spcBef>
              <a:defRPr sz="2200" b="1" kern="1200" spc="0" baseline="0">
                <a:solidFill>
                  <a:sysClr val="windowText" lastClr="000000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タイトル</a:t>
            </a:r>
          </a:p>
        </p:txBody>
      </p:sp>
      <p:sp>
        <p:nvSpPr>
          <p:cNvPr id="14" name="テキスト プレースホルダ 16">
            <a:extLst>
              <a:ext uri="{FF2B5EF4-FFF2-40B4-BE49-F238E27FC236}">
                <a16:creationId xmlns:a16="http://schemas.microsoft.com/office/drawing/2014/main" id="{3ED6534B-D57A-491E-8FDC-40E044C2BC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96649" y="1591556"/>
            <a:ext cx="5724826" cy="239396"/>
          </a:xfrm>
          <a:prstGeom prst="rect">
            <a:avLst/>
          </a:prstGeom>
          <a:noFill/>
        </p:spPr>
        <p:txBody>
          <a:bodyPr lIns="0" tIns="0" rIns="0" bIns="0" anchor="t">
            <a:noAutofit/>
          </a:bodyPr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500" b="0" spc="0" baseline="0">
                <a:solidFill>
                  <a:sysClr val="windowText" lastClr="000000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 </a:t>
            </a:r>
            <a:r>
              <a:rPr lang="ja-JP" altLang="en-US"/>
              <a:t>御中</a:t>
            </a:r>
          </a:p>
        </p:txBody>
      </p:sp>
      <p:sp>
        <p:nvSpPr>
          <p:cNvPr id="15" name="テキスト プレースホルダ 16">
            <a:extLst>
              <a:ext uri="{FF2B5EF4-FFF2-40B4-BE49-F238E27FC236}">
                <a16:creationId xmlns:a16="http://schemas.microsoft.com/office/drawing/2014/main" id="{1D7A96E6-BD21-40AD-AD5B-3BF24CA4AE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96649" y="3307644"/>
            <a:ext cx="5721889" cy="243662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ysClr val="windowText" lastClr="000000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16" name="テキスト プレースホルダ 16">
            <a:extLst>
              <a:ext uri="{FF2B5EF4-FFF2-40B4-BE49-F238E27FC236}">
                <a16:creationId xmlns:a16="http://schemas.microsoft.com/office/drawing/2014/main" id="{40F0529B-BD5E-4803-A38C-1FD322FFB8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586" y="3021246"/>
            <a:ext cx="5721889" cy="229955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350" spc="0" baseline="0">
                <a:solidFill>
                  <a:sysClr val="windowText" lastClr="000000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275915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/Body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プレースホルダー 2">
            <a:extLst>
              <a:ext uri="{FF2B5EF4-FFF2-40B4-BE49-F238E27FC236}">
                <a16:creationId xmlns:a16="http://schemas.microsoft.com/office/drawing/2014/main" id="{7DBBE447-5499-48D1-B24B-E21AB9B755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2231" y="1584320"/>
            <a:ext cx="5815464" cy="5436945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53975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900000" marR="0" indent="-180000" algn="just" defTabSz="903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3pPr>
            <a:lvl4pPr marL="1260000" marR="0" indent="-180000" algn="just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1077913" algn="l"/>
              </a:tabLst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4pPr>
            <a:lvl5pPr marL="1970088" indent="-176213" fontAlgn="auto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 spc="20" baseline="0">
                <a:solidFill>
                  <a:schemeClr val="tx2"/>
                </a:solidFill>
              </a:defRPr>
            </a:lvl5pPr>
            <a:lvl7pPr marL="3129168" indent="0">
              <a:buNone/>
              <a:defRPr/>
            </a:lvl7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10" name="テキスト プレースホルダー 2">
            <a:extLst>
              <a:ext uri="{FF2B5EF4-FFF2-40B4-BE49-F238E27FC236}">
                <a16:creationId xmlns:a16="http://schemas.microsoft.com/office/drawing/2014/main" id="{7C3C2B7E-C9F3-46EA-81B9-91BEAD7671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25004" y="1584325"/>
            <a:ext cx="5815464" cy="5437189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53975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900000" marR="0" indent="-180000" algn="just" defTabSz="903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3pPr>
            <a:lvl4pPr marL="1260000" marR="0" indent="-180000" algn="just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1077913" algn="l"/>
              </a:tabLst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4pPr>
            <a:lvl5pPr marL="1970088" indent="-176213" fontAlgn="auto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 spc="20" baseline="0">
                <a:solidFill>
                  <a:schemeClr val="tx2"/>
                </a:solidFill>
              </a:defRPr>
            </a:lvl5pPr>
            <a:lvl7pPr marL="3129168" indent="0">
              <a:buNone/>
              <a:defRPr/>
            </a:lvl7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9" name="テキスト プレースホルダー 9">
            <a:extLst>
              <a:ext uri="{FF2B5EF4-FFF2-40B4-BE49-F238E27FC236}">
                <a16:creationId xmlns:a16="http://schemas.microsoft.com/office/drawing/2014/main" id="{3AB1A058-BC5A-487E-8047-89AC481A11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76419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11" name="タイトル 10">
            <a:extLst>
              <a:ext uri="{FF2B5EF4-FFF2-40B4-BE49-F238E27FC236}">
                <a16:creationId xmlns:a16="http://schemas.microsoft.com/office/drawing/2014/main" id="{6DE9DBF8-3270-4DFF-A140-D5678C6A9E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515446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88464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/Key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10">
            <a:extLst>
              <a:ext uri="{FF2B5EF4-FFF2-40B4-BE49-F238E27FC236}">
                <a16:creationId xmlns:a16="http://schemas.microsoft.com/office/drawing/2014/main" id="{958C2D59-3DBD-4546-B127-0587E32BFD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dirty="0"/>
              <a:t>Title (12pt)</a:t>
            </a:r>
            <a:endParaRPr kumimoji="1" lang="ja-JP" altLang="en-US" dirty="0"/>
          </a:p>
        </p:txBody>
      </p:sp>
      <p:sp>
        <p:nvSpPr>
          <p:cNvPr id="4" name="テキスト プレースホルダー 9">
            <a:extLst>
              <a:ext uri="{FF2B5EF4-FFF2-40B4-BE49-F238E27FC236}">
                <a16:creationId xmlns:a16="http://schemas.microsoft.com/office/drawing/2014/main" id="{448BB802-219C-4D0C-B6C4-FA6D1E8BB5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1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Key Message (20pt, Bold)</a:t>
            </a:r>
          </a:p>
          <a:p>
            <a:pPr lvl="0"/>
            <a:r>
              <a:rPr kumimoji="1" lang="en-US" altLang="ja-JP" dirty="0"/>
              <a:t># 2</a:t>
            </a:r>
            <a:r>
              <a:rPr kumimoji="1" lang="ja-JP" altLang="en-US" dirty="0"/>
              <a:t>行以内で簡潔に記述</a:t>
            </a:r>
          </a:p>
        </p:txBody>
      </p:sp>
    </p:spTree>
    <p:extLst>
      <p:ext uri="{BB962C8B-B14F-4D97-AF65-F5344CB8AC3E}">
        <p14:creationId xmlns:p14="http://schemas.microsoft.com/office/powerpoint/2010/main" val="23727180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0300F5CA-3EFB-4498-A44B-E38DADF16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144" y="150813"/>
            <a:ext cx="10510991" cy="458785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defRPr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B7FAEB66-4277-4356-8602-E0A9B6EAA0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12593" y="7008812"/>
            <a:ext cx="3024187" cy="401637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BEE2D269-C100-4E60-AAE1-93A71DC187D2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6154A457-C713-4710-9B5D-ABAA6DDE42D7}"/>
              </a:ext>
            </a:extLst>
          </p:cNvPr>
          <p:cNvCxnSpPr>
            <a:cxnSpLocks/>
          </p:cNvCxnSpPr>
          <p:nvPr userDrawn="1"/>
        </p:nvCxnSpPr>
        <p:spPr>
          <a:xfrm>
            <a:off x="0" y="619435"/>
            <a:ext cx="13442950" cy="0"/>
          </a:xfrm>
          <a:prstGeom prst="line">
            <a:avLst/>
          </a:prstGeom>
          <a:ln w="28575">
            <a:solidFill>
              <a:srgbClr val="67DD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11439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49D38B0D-2CD0-498B-8B99-17B9592FF2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E77B1F-344A-484C-8A60-50504D148484}" type="datetime1">
              <a:rPr kumimoji="1" lang="ja-JP" altLang="en-US" smtClean="0"/>
              <a:t>2024/1/25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7AD3A054-E134-410C-B886-575F44C7C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28A88FA2-EC5C-463E-A515-7599539BD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2D269-C100-4E60-AAE1-93A71DC187D2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7AEB9D90-4492-422E-8D46-49849DD212CB}"/>
              </a:ext>
            </a:extLst>
          </p:cNvPr>
          <p:cNvCxnSpPr>
            <a:cxnSpLocks/>
          </p:cNvCxnSpPr>
          <p:nvPr userDrawn="1"/>
        </p:nvCxnSpPr>
        <p:spPr>
          <a:xfrm>
            <a:off x="-127819" y="707923"/>
            <a:ext cx="13666838" cy="0"/>
          </a:xfrm>
          <a:prstGeom prst="line">
            <a:avLst/>
          </a:prstGeom>
          <a:ln w="28575">
            <a:solidFill>
              <a:srgbClr val="A9D1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59863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C14F408-FC0E-4E2B-8EDA-5F7CE126C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5513" y="504825"/>
            <a:ext cx="4335462" cy="1763713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22223A7D-6EBC-4467-B6E7-EADB7CB426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0" y="1089025"/>
            <a:ext cx="6805613" cy="53736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67A8E4BB-A286-4003-AD62-54423E7FED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25513" y="2268538"/>
            <a:ext cx="4335462" cy="4202112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BC7DB65C-2C59-47E2-B69A-78309F08D7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96D1CF-5878-40E1-A233-62150978457D}" type="datetime1">
              <a:rPr kumimoji="1" lang="ja-JP" altLang="en-US" smtClean="0"/>
              <a:t>2024/1/25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407D90F5-07C2-40CE-ADBD-A288701BAA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C8A318FA-596D-41C7-A2A0-D5E35198DE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2D269-C100-4E60-AAE1-93A71DC187D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832086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609F0CE-C680-4DB2-8008-6FFFFDF810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5513" y="504825"/>
            <a:ext cx="4335462" cy="1763713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7DAEF6AE-3365-4605-9BBC-ED0B810C250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715000" y="1089025"/>
            <a:ext cx="6805613" cy="537368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727E74DC-103D-4F3D-88B6-2069899C28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25513" y="2268538"/>
            <a:ext cx="4335462" cy="4202112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9B44B0CC-E637-4694-B8CD-28A3514DB1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00D9DF-EDCA-4139-B9F2-187BBA844EE4}" type="datetime1">
              <a:rPr kumimoji="1" lang="ja-JP" altLang="en-US" smtClean="0"/>
              <a:t>2024/1/25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2CB52DF8-9828-4238-AC2C-A6BF371975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B3DD6CC1-CAFB-43E0-A8CA-9EAB5E4102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2D269-C100-4E60-AAE1-93A71DC187D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906850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61B9635-CD8B-4555-9340-2B731E867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F1125F23-A379-40CA-A07B-7D7184EDC25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AB80DBBB-47F5-4936-BC7D-25CCCA2B90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20CC5-2018-448B-AB0C-7A2EFE6C08F0}" type="datetime1">
              <a:rPr kumimoji="1" lang="ja-JP" altLang="en-US" smtClean="0"/>
              <a:t>2024/1/2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B8894F47-648E-46B6-BEB7-265067318C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3F7CBB2D-1880-4033-B7A9-3162179DF5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2D269-C100-4E60-AAE1-93A71DC187D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505764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E9C2BE6D-0005-4207-B08D-CED1622A411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620250" y="403225"/>
            <a:ext cx="2898775" cy="6407150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180461C1-5C7B-497B-87F7-988D5B3DD3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923925" y="403225"/>
            <a:ext cx="8543925" cy="6407150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D1BC4D32-A720-4DEE-9EE0-B030FE2076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6D208-548E-485F-8B25-E3D39EA693B1}" type="datetime1">
              <a:rPr kumimoji="1" lang="ja-JP" altLang="en-US" smtClean="0"/>
              <a:t>2024/1/2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08F3CE82-9426-4F6E-ABB2-6057E29F91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10235AC2-9189-4572-B54F-A754FF040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2D269-C100-4E60-AAE1-93A71DC187D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541175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>
            <a:extLst>
              <a:ext uri="{FF2B5EF4-FFF2-40B4-BE49-F238E27FC236}">
                <a16:creationId xmlns:a16="http://schemas.microsoft.com/office/drawing/2014/main" id="{EB964AD3-5C01-4342-859A-2B289C169223}"/>
              </a:ext>
            </a:extLst>
          </p:cNvPr>
          <p:cNvSpPr>
            <a:spLocks/>
          </p:cNvSpPr>
          <p:nvPr/>
        </p:nvSpPr>
        <p:spPr bwMode="gray">
          <a:xfrm>
            <a:off x="0" y="1"/>
            <a:ext cx="7344494" cy="517398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19 h 10000"/>
              <a:gd name="connsiteX3" fmla="*/ 0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10000" y="8019"/>
                </a:lnTo>
                <a:lnTo>
                  <a:pt x="0" y="10000"/>
                </a:lnTo>
                <a:lnTo>
                  <a:pt x="0" y="0"/>
                </a:lnTo>
                <a:close/>
              </a:path>
            </a:pathLst>
          </a:custGeom>
          <a:solidFill>
            <a:srgbClr val="FFB46A">
              <a:alpha val="90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GB" sz="992">
              <a:solidFill>
                <a:schemeClr val="bg1"/>
              </a:solidFill>
            </a:endParaRPr>
          </a:p>
        </p:txBody>
      </p:sp>
      <p:sp>
        <p:nvSpPr>
          <p:cNvPr id="5" name="タイトル 4">
            <a:extLst>
              <a:ext uri="{FF2B5EF4-FFF2-40B4-BE49-F238E27FC236}">
                <a16:creationId xmlns:a16="http://schemas.microsoft.com/office/drawing/2014/main" id="{11F351C6-F573-4213-828B-01A88AFD0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1172425"/>
            <a:ext cx="6044082" cy="2343661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0" spc="0" baseline="0">
                <a:solidFill>
                  <a:sysClr val="windowText" lastClr="000000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章タイトル</a:t>
            </a:r>
          </a:p>
        </p:txBody>
      </p:sp>
    </p:spTree>
    <p:extLst>
      <p:ext uri="{BB962C8B-B14F-4D97-AF65-F5344CB8AC3E}">
        <p14:creationId xmlns:p14="http://schemas.microsoft.com/office/powerpoint/2010/main" val="42157734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3 (White) Long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>
            <a:extLst>
              <a:ext uri="{FF2B5EF4-FFF2-40B4-BE49-F238E27FC236}">
                <a16:creationId xmlns:a16="http://schemas.microsoft.com/office/drawing/2014/main" id="{D690C839-DE61-4087-9C50-DE0AA3D82C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2483" y="316992"/>
            <a:ext cx="7894939" cy="3558870"/>
          </a:xfrm>
          <a:prstGeom prst="rect">
            <a:avLst/>
          </a:prstGeom>
          <a:solidFill>
            <a:schemeClr val="accent4"/>
          </a:solidFill>
        </p:spPr>
      </p:pic>
      <p:sp>
        <p:nvSpPr>
          <p:cNvPr id="32" name="タイトル 14"/>
          <p:cNvSpPr>
            <a:spLocks noGrp="1"/>
          </p:cNvSpPr>
          <p:nvPr>
            <p:ph type="title" hasCustomPrompt="1"/>
          </p:nvPr>
        </p:nvSpPr>
        <p:spPr>
          <a:xfrm>
            <a:off x="996649" y="2002673"/>
            <a:ext cx="7325846" cy="846853"/>
          </a:xfrm>
          <a:prstGeom prst="rect">
            <a:avLst/>
          </a:prstGeom>
        </p:spPr>
        <p:txBody>
          <a:bodyPr lIns="0" tIns="0" rIns="0" bIns="0" anchor="t"/>
          <a:lstStyle>
            <a:lvl1pPr fontAlgn="auto">
              <a:lnSpc>
                <a:spcPct val="100000"/>
              </a:lnSpc>
              <a:spcBef>
                <a:spcPts val="0"/>
              </a:spcBef>
              <a:defRPr sz="2200" b="1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タイトル</a:t>
            </a:r>
          </a:p>
        </p:txBody>
      </p:sp>
      <p:sp>
        <p:nvSpPr>
          <p:cNvPr id="33" name="テキスト プレースホルダ 16"/>
          <p:cNvSpPr>
            <a:spLocks noGrp="1"/>
          </p:cNvSpPr>
          <p:nvPr>
            <p:ph type="body" sz="quarter" idx="10" hasCustomPrompt="1"/>
          </p:nvPr>
        </p:nvSpPr>
        <p:spPr>
          <a:xfrm>
            <a:off x="996649" y="1591556"/>
            <a:ext cx="7325846" cy="23939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5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 </a:t>
            </a:r>
            <a:r>
              <a:rPr lang="ja-JP" altLang="en-US"/>
              <a:t>御中</a:t>
            </a:r>
          </a:p>
        </p:txBody>
      </p:sp>
      <p:sp>
        <p:nvSpPr>
          <p:cNvPr id="34" name="テキスト プレースホルダ 16"/>
          <p:cNvSpPr>
            <a:spLocks noGrp="1"/>
          </p:cNvSpPr>
          <p:nvPr>
            <p:ph type="body" sz="quarter" idx="11" hasCustomPrompt="1"/>
          </p:nvPr>
        </p:nvSpPr>
        <p:spPr>
          <a:xfrm>
            <a:off x="996649" y="3318934"/>
            <a:ext cx="7322088" cy="232373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25" name="テキスト プレースホルダ 16"/>
          <p:cNvSpPr>
            <a:spLocks noGrp="1"/>
          </p:cNvSpPr>
          <p:nvPr>
            <p:ph type="body" sz="quarter" idx="12" hasCustomPrompt="1"/>
          </p:nvPr>
        </p:nvSpPr>
        <p:spPr>
          <a:xfrm>
            <a:off x="999586" y="3021247"/>
            <a:ext cx="7322088" cy="241243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35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5789011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6B5327D3-D6A5-4077-A24A-BBDEF12B48C9}"/>
              </a:ext>
            </a:extLst>
          </p:cNvPr>
          <p:cNvSpPr/>
          <p:nvPr userDrawn="1"/>
        </p:nvSpPr>
        <p:spPr>
          <a:xfrm>
            <a:off x="647642" y="565346"/>
            <a:ext cx="5688022" cy="427146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8" kern="1200" spc="0" baseline="0"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1" name="タイトル 14">
            <a:extLst>
              <a:ext uri="{FF2B5EF4-FFF2-40B4-BE49-F238E27FC236}">
                <a16:creationId xmlns:a16="http://schemas.microsoft.com/office/drawing/2014/main" id="{66AE7F0D-14E0-43D0-BE12-B56D08D5FE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0298" y="2304904"/>
            <a:ext cx="5105025" cy="1245286"/>
          </a:xfrm>
          <a:prstGeom prst="rect">
            <a:avLst/>
          </a:prstGeom>
        </p:spPr>
        <p:txBody>
          <a:bodyPr lIns="0" tIns="0" rIns="0" bIns="0" anchor="t"/>
          <a:lstStyle>
            <a:lvl1pPr fontAlgn="auto">
              <a:lnSpc>
                <a:spcPct val="100000"/>
              </a:lnSpc>
              <a:spcBef>
                <a:spcPts val="0"/>
              </a:spcBef>
              <a:defRPr sz="2150" b="1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表紙タイトル</a:t>
            </a:r>
          </a:p>
        </p:txBody>
      </p:sp>
      <p:sp>
        <p:nvSpPr>
          <p:cNvPr id="12" name="テキスト プレースホルダ 16">
            <a:extLst>
              <a:ext uri="{FF2B5EF4-FFF2-40B4-BE49-F238E27FC236}">
                <a16:creationId xmlns:a16="http://schemas.microsoft.com/office/drawing/2014/main" id="{8B75137B-4D18-4F3A-B626-2D65BE02A4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0298" y="1779242"/>
            <a:ext cx="5105025" cy="3096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158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 </a:t>
            </a:r>
            <a:r>
              <a:rPr lang="ja-JP" altLang="en-US"/>
              <a:t>御中</a:t>
            </a:r>
          </a:p>
        </p:txBody>
      </p:sp>
      <p:sp>
        <p:nvSpPr>
          <p:cNvPr id="13" name="テキスト プレースホルダ 16">
            <a:extLst>
              <a:ext uri="{FF2B5EF4-FFF2-40B4-BE49-F238E27FC236}">
                <a16:creationId xmlns:a16="http://schemas.microsoft.com/office/drawing/2014/main" id="{967D729C-EA03-4428-AC9C-8379AA9C7B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0298" y="4186795"/>
            <a:ext cx="5105025" cy="263149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158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14" name="テキスト プレースホルダ 16">
            <a:extLst>
              <a:ext uri="{FF2B5EF4-FFF2-40B4-BE49-F238E27FC236}">
                <a16:creationId xmlns:a16="http://schemas.microsoft.com/office/drawing/2014/main" id="{94B9D264-8FDE-4B51-AA34-0951783BE7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2635" y="3872940"/>
            <a:ext cx="5105025" cy="263149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323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5619899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タイトル 14">
            <a:extLst>
              <a:ext uri="{FF2B5EF4-FFF2-40B4-BE49-F238E27FC236}">
                <a16:creationId xmlns:a16="http://schemas.microsoft.com/office/drawing/2014/main" id="{D70D7699-25C3-43B3-8860-899D3FFF2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0298" y="2304904"/>
            <a:ext cx="5996864" cy="1245286"/>
          </a:xfrm>
          <a:prstGeom prst="rect">
            <a:avLst/>
          </a:prstGeom>
        </p:spPr>
        <p:txBody>
          <a:bodyPr lIns="0" tIns="0" rIns="0" bIns="0" anchor="t"/>
          <a:lstStyle>
            <a:lvl1pPr fontAlgn="auto">
              <a:lnSpc>
                <a:spcPct val="100000"/>
              </a:lnSpc>
              <a:spcBef>
                <a:spcPts val="0"/>
              </a:spcBef>
              <a:defRPr sz="2150" b="1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表紙タイトル</a:t>
            </a:r>
          </a:p>
        </p:txBody>
      </p:sp>
      <p:sp>
        <p:nvSpPr>
          <p:cNvPr id="31" name="テキスト プレースホルダ 16">
            <a:extLst>
              <a:ext uri="{FF2B5EF4-FFF2-40B4-BE49-F238E27FC236}">
                <a16:creationId xmlns:a16="http://schemas.microsoft.com/office/drawing/2014/main" id="{EB05BDD4-88E8-4D24-B2D4-77A4F8A93F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0298" y="1779242"/>
            <a:ext cx="5996864" cy="3096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158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 </a:t>
            </a:r>
            <a:r>
              <a:rPr lang="ja-JP" altLang="en-US"/>
              <a:t>御中</a:t>
            </a:r>
          </a:p>
        </p:txBody>
      </p:sp>
      <p:sp>
        <p:nvSpPr>
          <p:cNvPr id="32" name="テキスト プレースホルダ 16">
            <a:extLst>
              <a:ext uri="{FF2B5EF4-FFF2-40B4-BE49-F238E27FC236}">
                <a16:creationId xmlns:a16="http://schemas.microsoft.com/office/drawing/2014/main" id="{87155AAE-18E0-402C-932F-66066376DF6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0298" y="4186795"/>
            <a:ext cx="5996864" cy="263149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158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33" name="テキスト プレースホルダ 16">
            <a:extLst>
              <a:ext uri="{FF2B5EF4-FFF2-40B4-BE49-F238E27FC236}">
                <a16:creationId xmlns:a16="http://schemas.microsoft.com/office/drawing/2014/main" id="{73F5B92A-86B6-41AE-B8BC-36F5C7150EB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2635" y="3872940"/>
            <a:ext cx="5996864" cy="263149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323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443366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A5012D4D-F369-49F1-B29B-5AEB36158E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43" y="525090"/>
            <a:ext cx="12159919" cy="1072929"/>
          </a:xfrm>
          <a:prstGeom prst="rect">
            <a:avLst/>
          </a:prstGeom>
        </p:spPr>
        <p:txBody>
          <a:bodyPr lIns="0" tIns="0" rIns="0" bIns="0" anchor="ctr"/>
          <a:lstStyle>
            <a:lvl1pPr fontAlgn="auto">
              <a:lnSpc>
                <a:spcPct val="100000"/>
              </a:lnSpc>
              <a:defRPr sz="2150" b="0" spc="0" baseline="0">
                <a:solidFill>
                  <a:schemeClr val="tx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はじめにタイトル</a:t>
            </a:r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AE76F953-026D-4628-B00A-DDF0AC88358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2461621" y="6984458"/>
            <a:ext cx="332658" cy="341348"/>
            <a:chOff x="7110" y="4004"/>
            <a:chExt cx="191" cy="196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FDA5FDD3-32D6-45C7-9C67-91E77C161F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488">
                <a:latin typeface="EYInterstate" panose="02000503020000020004" pitchFamily="2" charset="0"/>
              </a:endParaRPr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2AC91F60-3147-4BF1-AD5E-7CA51FC5EB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488">
                <a:latin typeface="EYInterstate" panose="02000503020000020004" pitchFamily="2" charset="0"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6C990F01-F5B1-4122-8FF1-B5DB37E3FC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488">
                <a:latin typeface="EYInterstate" panose="02000503020000020004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7225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A5012D4D-F369-49F1-B29B-5AEB36158E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43" y="525090"/>
            <a:ext cx="12159919" cy="1072929"/>
          </a:xfrm>
          <a:prstGeom prst="rect">
            <a:avLst/>
          </a:prstGeom>
        </p:spPr>
        <p:txBody>
          <a:bodyPr lIns="0" tIns="0" rIns="0" bIns="0" anchor="ctr"/>
          <a:lstStyle>
            <a:lvl1pPr fontAlgn="auto">
              <a:lnSpc>
                <a:spcPct val="100000"/>
              </a:lnSpc>
              <a:defRPr sz="2150" b="0" spc="0" baseline="0">
                <a:solidFill>
                  <a:schemeClr val="tx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目次タイトル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0822CEE0-920B-40F2-B598-7A802FF541B9}"/>
              </a:ext>
            </a:extLst>
          </p:cNvPr>
          <p:cNvSpPr txBox="1">
            <a:spLocks/>
          </p:cNvSpPr>
          <p:nvPr userDrawn="1"/>
        </p:nvSpPr>
        <p:spPr>
          <a:xfrm>
            <a:off x="0" y="2"/>
            <a:ext cx="158775" cy="7561263"/>
          </a:xfrm>
          <a:prstGeom prst="rect">
            <a:avLst/>
          </a:prstGeom>
          <a:solidFill>
            <a:srgbClr val="C4C4CD"/>
          </a:solidFill>
          <a:ln>
            <a:noFill/>
          </a:ln>
        </p:spPr>
        <p:txBody>
          <a:bodyPr vert="horz" lIns="378063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endParaRPr kumimoji="0" lang="en-US" sz="2977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Meiryo UI"/>
              <a:cs typeface="+mj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4CDE-56A1-4D2D-87FD-933E1AE30504}"/>
              </a:ext>
            </a:extLst>
          </p:cNvPr>
          <p:cNvSpPr txBox="1">
            <a:spLocks/>
          </p:cNvSpPr>
          <p:nvPr userDrawn="1"/>
        </p:nvSpPr>
        <p:spPr>
          <a:xfrm>
            <a:off x="-228" y="525089"/>
            <a:ext cx="158775" cy="1072928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378063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endParaRPr kumimoji="0" lang="en-US" sz="2977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Meiryo UI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50971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3575547B-FA07-45A9-B2CF-6EBD00E17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3850" y="525089"/>
            <a:ext cx="11833711" cy="1072928"/>
          </a:xfrm>
          <a:prstGeom prst="rect">
            <a:avLst/>
          </a:prstGeom>
        </p:spPr>
        <p:txBody>
          <a:bodyPr lIns="0" tIns="0" rIns="0" bIns="0" anchor="ctr"/>
          <a:lstStyle>
            <a:lvl1pPr fontAlgn="auto">
              <a:lnSpc>
                <a:spcPct val="100000"/>
              </a:lnSpc>
              <a:defRPr sz="2150" b="0" spc="0" baseline="0">
                <a:solidFill>
                  <a:schemeClr val="tx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目次タイトル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E0A365E4-8C89-4686-A12F-0A36E26B8EC4}"/>
              </a:ext>
            </a:extLst>
          </p:cNvPr>
          <p:cNvSpPr txBox="1">
            <a:spLocks/>
          </p:cNvSpPr>
          <p:nvPr userDrawn="1"/>
        </p:nvSpPr>
        <p:spPr>
          <a:xfrm>
            <a:off x="-228" y="525089"/>
            <a:ext cx="647871" cy="1072928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378063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endParaRPr kumimoji="0" lang="en-US" sz="2977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Meiryo UI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150596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7AFB739-4EFB-4021-B261-1BEC68EA7C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41541" y="4212638"/>
            <a:ext cx="7898932" cy="1728043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2977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</p:spTree>
    <p:extLst>
      <p:ext uri="{BB962C8B-B14F-4D97-AF65-F5344CB8AC3E}">
        <p14:creationId xmlns:p14="http://schemas.microsoft.com/office/powerpoint/2010/main" val="15992949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>
            <a:extLst>
              <a:ext uri="{FF2B5EF4-FFF2-40B4-BE49-F238E27FC236}">
                <a16:creationId xmlns:a16="http://schemas.microsoft.com/office/drawing/2014/main" id="{EB964AD3-5C01-4342-859A-2B289C169223}"/>
              </a:ext>
            </a:extLst>
          </p:cNvPr>
          <p:cNvSpPr>
            <a:spLocks/>
          </p:cNvSpPr>
          <p:nvPr userDrawn="1"/>
        </p:nvSpPr>
        <p:spPr bwMode="gray">
          <a:xfrm>
            <a:off x="0" y="7"/>
            <a:ext cx="6721475" cy="517398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19 h 10000"/>
              <a:gd name="connsiteX3" fmla="*/ 0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10000" y="8019"/>
                </a:lnTo>
                <a:lnTo>
                  <a:pt x="0" y="10000"/>
                </a:lnTo>
                <a:lnTo>
                  <a:pt x="0" y="0"/>
                </a:lnTo>
                <a:close/>
              </a:path>
            </a:pathLst>
          </a:custGeom>
          <a:solidFill>
            <a:srgbClr val="082C65">
              <a:alpha val="90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75608" tIns="37804" rIns="75608" bIns="37804" numCol="1" anchor="t" anchorCtr="0" compatLnSpc="1">
            <a:prstTxWarp prst="textNoShape">
              <a:avLst/>
            </a:prstTxWarp>
          </a:bodyPr>
          <a:lstStyle/>
          <a:p>
            <a:endParaRPr lang="en-GB" sz="744">
              <a:solidFill>
                <a:schemeClr val="bg1"/>
              </a:solidFill>
            </a:endParaRPr>
          </a:p>
        </p:txBody>
      </p:sp>
      <p:sp>
        <p:nvSpPr>
          <p:cNvPr id="5" name="タイトル 4">
            <a:extLst>
              <a:ext uri="{FF2B5EF4-FFF2-40B4-BE49-F238E27FC236}">
                <a16:creationId xmlns:a16="http://schemas.microsoft.com/office/drawing/2014/main" id="{11F351C6-F573-4213-828B-01A88AFD0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43" y="1102153"/>
            <a:ext cx="5555034" cy="2678481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2481" b="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</p:spTree>
    <p:extLst>
      <p:ext uri="{BB962C8B-B14F-4D97-AF65-F5344CB8AC3E}">
        <p14:creationId xmlns:p14="http://schemas.microsoft.com/office/powerpoint/2010/main" val="265774448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4">
            <a:extLst>
              <a:ext uri="{FF2B5EF4-FFF2-40B4-BE49-F238E27FC236}">
                <a16:creationId xmlns:a16="http://schemas.microsoft.com/office/drawing/2014/main" id="{11F351C6-F573-4213-828B-01A88AFD0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43" y="3097408"/>
            <a:ext cx="12159919" cy="1389208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977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B1111-4FB4-42C9-918D-9F94E74ED8A6}"/>
              </a:ext>
            </a:extLst>
          </p:cNvPr>
          <p:cNvSpPr txBox="1">
            <a:spLocks/>
          </p:cNvSpPr>
          <p:nvPr userDrawn="1"/>
        </p:nvSpPr>
        <p:spPr>
          <a:xfrm>
            <a:off x="0" y="2"/>
            <a:ext cx="158775" cy="7561263"/>
          </a:xfrm>
          <a:prstGeom prst="rect">
            <a:avLst/>
          </a:prstGeom>
          <a:solidFill>
            <a:srgbClr val="C4C4CD"/>
          </a:solidFill>
          <a:ln>
            <a:noFill/>
          </a:ln>
        </p:spPr>
        <p:txBody>
          <a:bodyPr vert="horz" lIns="378063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endParaRPr kumimoji="0" lang="en-US" sz="2977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Meiryo UI"/>
              <a:cs typeface="+mj-cs"/>
            </a:endParaRP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248666E-77D8-4355-9802-8958A75693CC}"/>
              </a:ext>
            </a:extLst>
          </p:cNvPr>
          <p:cNvSpPr txBox="1">
            <a:spLocks/>
          </p:cNvSpPr>
          <p:nvPr userDrawn="1"/>
        </p:nvSpPr>
        <p:spPr>
          <a:xfrm>
            <a:off x="-228" y="3097408"/>
            <a:ext cx="158775" cy="1389208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378063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endParaRPr kumimoji="0" lang="en-US" sz="2977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Meiryo UI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5824492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4">
            <a:extLst>
              <a:ext uri="{FF2B5EF4-FFF2-40B4-BE49-F238E27FC236}">
                <a16:creationId xmlns:a16="http://schemas.microsoft.com/office/drawing/2014/main" id="{738950DF-D5C9-4F1E-9463-83EAF241E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5308" y="3097405"/>
            <a:ext cx="11822253" cy="1389208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977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EF99CC7-CEFB-4ABE-9391-5F232E2933D7}"/>
              </a:ext>
            </a:extLst>
          </p:cNvPr>
          <p:cNvSpPr txBox="1">
            <a:spLocks/>
          </p:cNvSpPr>
          <p:nvPr userDrawn="1"/>
        </p:nvSpPr>
        <p:spPr>
          <a:xfrm>
            <a:off x="-228" y="3097406"/>
            <a:ext cx="635619" cy="1389208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378063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endParaRPr kumimoji="0" lang="en-US" sz="2977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Meiryo UI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1854664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5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4">
            <a:extLst>
              <a:ext uri="{FF2B5EF4-FFF2-40B4-BE49-F238E27FC236}">
                <a16:creationId xmlns:a16="http://schemas.microsoft.com/office/drawing/2014/main" id="{1526AC10-C8E6-462A-A411-1A8870B260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" y="5256538"/>
            <a:ext cx="13442949" cy="1389208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lIns="900000" tIns="0" rIns="0" bIns="0" anchor="ctr"/>
          <a:lstStyle>
            <a:lvl1pPr>
              <a:lnSpc>
                <a:spcPct val="100000"/>
              </a:lnSpc>
              <a:defRPr sz="2977" b="0" spc="0" baseline="0">
                <a:solidFill>
                  <a:schemeClr val="tx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9EFFDF0-3902-405E-A255-4129F0811957}"/>
              </a:ext>
            </a:extLst>
          </p:cNvPr>
          <p:cNvSpPr/>
          <p:nvPr userDrawn="1"/>
        </p:nvSpPr>
        <p:spPr>
          <a:xfrm>
            <a:off x="11426506" y="1"/>
            <a:ext cx="2016443" cy="520887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06" tIns="59537" rIns="89306" bIns="595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992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背景に写真を挿入することを前提にしている</a:t>
            </a:r>
          </a:p>
        </p:txBody>
      </p:sp>
    </p:spTree>
    <p:extLst>
      <p:ext uri="{BB962C8B-B14F-4D97-AF65-F5344CB8AC3E}">
        <p14:creationId xmlns:p14="http://schemas.microsoft.com/office/powerpoint/2010/main" val="1060438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324B42D-AE01-47C1-9F6C-0919F512BD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539749"/>
            <a:ext cx="12037986" cy="1044576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400" b="0"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はじめにタイトル</a:t>
            </a:r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16805097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6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4">
            <a:extLst>
              <a:ext uri="{FF2B5EF4-FFF2-40B4-BE49-F238E27FC236}">
                <a16:creationId xmlns:a16="http://schemas.microsoft.com/office/drawing/2014/main" id="{1526AC10-C8E6-462A-A411-1A8870B260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" y="5256538"/>
            <a:ext cx="13442949" cy="1389208"/>
          </a:xfrm>
          <a:prstGeom prst="rect">
            <a:avLst/>
          </a:prstGeom>
          <a:solidFill>
            <a:srgbClr val="2E2E38">
              <a:alpha val="80000"/>
            </a:srgbClr>
          </a:solidFill>
        </p:spPr>
        <p:txBody>
          <a:bodyPr lIns="900000" tIns="0" rIns="0" bIns="0" anchor="ctr"/>
          <a:lstStyle>
            <a:lvl1pPr>
              <a:lnSpc>
                <a:spcPct val="100000"/>
              </a:lnSpc>
              <a:defRPr sz="2977" b="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9EFFDF0-3902-405E-A255-4129F0811957}"/>
              </a:ext>
            </a:extLst>
          </p:cNvPr>
          <p:cNvSpPr/>
          <p:nvPr userDrawn="1"/>
        </p:nvSpPr>
        <p:spPr>
          <a:xfrm>
            <a:off x="11426506" y="1"/>
            <a:ext cx="2016443" cy="520887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06" tIns="59537" rIns="89306" bIns="595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992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背景に写真を挿入することを前提にしている</a:t>
            </a:r>
          </a:p>
        </p:txBody>
      </p:sp>
    </p:spTree>
    <p:extLst>
      <p:ext uri="{BB962C8B-B14F-4D97-AF65-F5344CB8AC3E}">
        <p14:creationId xmlns:p14="http://schemas.microsoft.com/office/powerpoint/2010/main" val="39361637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4">
            <a:extLst>
              <a:ext uri="{FF2B5EF4-FFF2-40B4-BE49-F238E27FC236}">
                <a16:creationId xmlns:a16="http://schemas.microsoft.com/office/drawing/2014/main" id="{11F351C6-F573-4213-828B-01A88AFD0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43" y="1592892"/>
            <a:ext cx="12159919" cy="1071675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977" b="0" spc="0" baseline="0">
                <a:solidFill>
                  <a:schemeClr val="accent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問合せ先タイトル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B1111-4FB4-42C9-918D-9F94E74ED8A6}"/>
              </a:ext>
            </a:extLst>
          </p:cNvPr>
          <p:cNvSpPr txBox="1">
            <a:spLocks/>
          </p:cNvSpPr>
          <p:nvPr userDrawn="1"/>
        </p:nvSpPr>
        <p:spPr>
          <a:xfrm>
            <a:off x="0" y="2"/>
            <a:ext cx="158775" cy="7561263"/>
          </a:xfrm>
          <a:prstGeom prst="rect">
            <a:avLst/>
          </a:prstGeom>
          <a:solidFill>
            <a:srgbClr val="C4C4CD"/>
          </a:solidFill>
          <a:ln>
            <a:noFill/>
          </a:ln>
        </p:spPr>
        <p:txBody>
          <a:bodyPr vert="horz" lIns="378063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endParaRPr kumimoji="0" lang="en-US" sz="2977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Meiryo UI"/>
              <a:cs typeface="+mj-cs"/>
            </a:endParaRP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248666E-77D8-4355-9802-8958A75693CC}"/>
              </a:ext>
            </a:extLst>
          </p:cNvPr>
          <p:cNvSpPr txBox="1">
            <a:spLocks/>
          </p:cNvSpPr>
          <p:nvPr userDrawn="1"/>
        </p:nvSpPr>
        <p:spPr>
          <a:xfrm>
            <a:off x="-228" y="1592892"/>
            <a:ext cx="158775" cy="1071675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378063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endParaRPr kumimoji="0" lang="en-US" sz="2977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Meiryo UI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9512736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8A247BE9-74AB-4518-A1D5-492DE9BFCDC1}"/>
              </a:ext>
            </a:extLst>
          </p:cNvPr>
          <p:cNvSpPr txBox="1">
            <a:spLocks/>
          </p:cNvSpPr>
          <p:nvPr userDrawn="1"/>
        </p:nvSpPr>
        <p:spPr>
          <a:xfrm>
            <a:off x="-228" y="1606055"/>
            <a:ext cx="635619" cy="1071675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378063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endParaRPr kumimoji="0" lang="en-US" sz="2977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Meiryo UI"/>
              <a:cs typeface="+mj-cs"/>
            </a:endParaRPr>
          </a:p>
        </p:txBody>
      </p:sp>
      <p:sp>
        <p:nvSpPr>
          <p:cNvPr id="7" name="タイトル 4">
            <a:extLst>
              <a:ext uri="{FF2B5EF4-FFF2-40B4-BE49-F238E27FC236}">
                <a16:creationId xmlns:a16="http://schemas.microsoft.com/office/drawing/2014/main" id="{1526AC10-C8E6-462A-A411-1A8870B260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3850" y="1606055"/>
            <a:ext cx="11833711" cy="1071675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977" b="0" spc="0" baseline="0">
                <a:solidFill>
                  <a:schemeClr val="accent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問合せ先タイトル</a:t>
            </a:r>
          </a:p>
        </p:txBody>
      </p:sp>
    </p:spTree>
    <p:extLst>
      <p:ext uri="{BB962C8B-B14F-4D97-AF65-F5344CB8AC3E}">
        <p14:creationId xmlns:p14="http://schemas.microsoft.com/office/powerpoint/2010/main" val="3191474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Key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0">
            <a:extLst>
              <a:ext uri="{FF2B5EF4-FFF2-40B4-BE49-F238E27FC236}">
                <a16:creationId xmlns:a16="http://schemas.microsoft.com/office/drawing/2014/main" id="{BBC25C9E-8C6B-476D-B832-C6DCC1802C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9646" y="287049"/>
            <a:ext cx="12147667" cy="17819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78219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58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78219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4pt)</a:t>
            </a:r>
            <a:endParaRPr kumimoji="1" lang="ja-JP" altLang="en-US"/>
          </a:p>
        </p:txBody>
      </p:sp>
      <p:sp>
        <p:nvSpPr>
          <p:cNvPr id="11" name="テキスト プレースホルダー 9">
            <a:extLst>
              <a:ext uri="{FF2B5EF4-FFF2-40B4-BE49-F238E27FC236}">
                <a16:creationId xmlns:a16="http://schemas.microsoft.com/office/drawing/2014/main" id="{04CE331B-2F5D-4762-A306-D6721C0712D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646" y="550111"/>
            <a:ext cx="12147667" cy="708813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1819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2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</p:spTree>
    <p:extLst>
      <p:ext uri="{BB962C8B-B14F-4D97-AF65-F5344CB8AC3E}">
        <p14:creationId xmlns:p14="http://schemas.microsoft.com/office/powerpoint/2010/main" val="12532144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KeyMessage/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テキスト プレースホルダー 2">
            <a:extLst>
              <a:ext uri="{FF2B5EF4-FFF2-40B4-BE49-F238E27FC236}">
                <a16:creationId xmlns:a16="http://schemas.microsoft.com/office/drawing/2014/main" id="{D0EE814B-D29B-4779-9167-F3A5FE36EF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9646" y="1598020"/>
            <a:ext cx="12147667" cy="5476663"/>
          </a:xfrm>
          <a:prstGeom prst="rect">
            <a:avLst/>
          </a:prstGeom>
        </p:spPr>
        <p:txBody>
          <a:bodyPr lIns="0" tIns="0" rIns="0" bIns="0"/>
          <a:lstStyle>
            <a:lvl1pPr marL="134985" indent="-134985" algn="just" fontAlgn="auto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323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404764" marR="0" indent="-134985" algn="just" defTabSz="782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323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674920" marR="0" indent="-134985" algn="just" defTabSz="6773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323" spc="0" baseline="0">
                <a:solidFill>
                  <a:schemeClr val="tx2"/>
                </a:solidFill>
              </a:defRPr>
            </a:lvl3pPr>
            <a:lvl4pPr marL="944887" marR="0" indent="-134985" algn="just" defTabSz="782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808339" algn="l"/>
              </a:tabLst>
              <a:defRPr sz="1323" spc="0" baseline="0">
                <a:solidFill>
                  <a:schemeClr val="tx2"/>
                </a:solidFill>
              </a:defRPr>
            </a:lvl4pPr>
            <a:lvl5pPr marL="1477390" indent="-132143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900"/>
            </a:lvl5pPr>
            <a:lvl7pPr marL="2346595" indent="0">
              <a:buNone/>
              <a:defRPr/>
            </a:lvl7pPr>
          </a:lstStyle>
          <a:p>
            <a:pPr lvl="0"/>
            <a:r>
              <a:rPr kumimoji="1" lang="en-US" altLang="ja-JP"/>
              <a:t>Body (&gt;16pt)</a:t>
            </a:r>
          </a:p>
          <a:p>
            <a:pPr marL="404764" marR="0" lvl="1" indent="-134985" algn="just" defTabSz="782198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/>
            </a:pPr>
            <a:r>
              <a:rPr kumimoji="1" lang="en-US" altLang="ja-JP"/>
              <a:t>Body (&gt;16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12" name="タイトル 10">
            <a:extLst>
              <a:ext uri="{FF2B5EF4-FFF2-40B4-BE49-F238E27FC236}">
                <a16:creationId xmlns:a16="http://schemas.microsoft.com/office/drawing/2014/main" id="{FAD3DECA-2808-4313-B86A-2373F33229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9646" y="287049"/>
            <a:ext cx="12147667" cy="17819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78219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58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78219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4pt)</a:t>
            </a:r>
            <a:endParaRPr kumimoji="1" lang="ja-JP" altLang="en-US"/>
          </a:p>
        </p:txBody>
      </p:sp>
      <p:sp>
        <p:nvSpPr>
          <p:cNvPr id="13" name="テキスト プレースホルダー 9">
            <a:extLst>
              <a:ext uri="{FF2B5EF4-FFF2-40B4-BE49-F238E27FC236}">
                <a16:creationId xmlns:a16="http://schemas.microsoft.com/office/drawing/2014/main" id="{E27F6969-B486-4AE4-A6F2-20AAA8C1C6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646" y="550111"/>
            <a:ext cx="12147667" cy="708813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1819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2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</p:spTree>
    <p:extLst>
      <p:ext uri="{BB962C8B-B14F-4D97-AF65-F5344CB8AC3E}">
        <p14:creationId xmlns:p14="http://schemas.microsoft.com/office/powerpoint/2010/main" val="3705466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KeyMessage/Body/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テキスト プレースホルダー 2">
            <a:extLst>
              <a:ext uri="{FF2B5EF4-FFF2-40B4-BE49-F238E27FC236}">
                <a16:creationId xmlns:a16="http://schemas.microsoft.com/office/drawing/2014/main" id="{7A9EF869-99B1-48AB-ACB4-48F3BCC091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9646" y="1598019"/>
            <a:ext cx="12147667" cy="5166496"/>
          </a:xfrm>
          <a:prstGeom prst="rect">
            <a:avLst/>
          </a:prstGeom>
        </p:spPr>
        <p:txBody>
          <a:bodyPr lIns="0" tIns="0" rIns="0" bIns="0"/>
          <a:lstStyle>
            <a:lvl1pPr marL="134985" indent="-134985" algn="just" fontAlgn="auto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323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404764" marR="0" indent="-134985" algn="just" defTabSz="782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323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674920" marR="0" indent="-134985" algn="just" defTabSz="6773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323" spc="0" baseline="0">
                <a:solidFill>
                  <a:schemeClr val="tx2"/>
                </a:solidFill>
              </a:defRPr>
            </a:lvl3pPr>
            <a:lvl4pPr marL="944887" marR="0" indent="-134985" algn="just" defTabSz="782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808339" algn="l"/>
              </a:tabLst>
              <a:defRPr sz="1323" spc="0" baseline="0">
                <a:solidFill>
                  <a:schemeClr val="tx2"/>
                </a:solidFill>
              </a:defRPr>
            </a:lvl4pPr>
            <a:lvl5pPr marL="1477390" indent="-132143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900"/>
            </a:lvl5pPr>
            <a:lvl7pPr marL="2346595" indent="0">
              <a:buNone/>
              <a:defRPr/>
            </a:lvl7pPr>
          </a:lstStyle>
          <a:p>
            <a:pPr lvl="0"/>
            <a:r>
              <a:rPr kumimoji="1" lang="en-US" altLang="ja-JP"/>
              <a:t>Body (&gt;16pt)</a:t>
            </a:r>
          </a:p>
          <a:p>
            <a:pPr marL="404764" marR="0" lvl="1" indent="-134985" algn="just" defTabSz="782198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/>
            </a:pPr>
            <a:r>
              <a:rPr kumimoji="1" lang="en-US" altLang="ja-JP"/>
              <a:t>Body (&gt;16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650F7C7F-E5FD-480D-80BD-AF30E45DE7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9647" y="6764515"/>
            <a:ext cx="12135662" cy="31016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Clr>
                <a:schemeClr val="accent1"/>
              </a:buClr>
              <a:buSzPct val="100000"/>
              <a:buFontTx/>
              <a:buNone/>
              <a:defRPr sz="827" spc="0" baseline="0"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304190" indent="0">
              <a:buNone/>
              <a:defRPr/>
            </a:lvl2pPr>
          </a:lstStyle>
          <a:p>
            <a:pPr lvl="0"/>
            <a:r>
              <a:rPr kumimoji="1" lang="en-US" altLang="ja-JP"/>
              <a:t>Citation (10pt)</a:t>
            </a:r>
            <a:endParaRPr kumimoji="1" lang="ja-JP" altLang="en-US"/>
          </a:p>
        </p:txBody>
      </p:sp>
      <p:sp>
        <p:nvSpPr>
          <p:cNvPr id="11" name="タイトル 10">
            <a:extLst>
              <a:ext uri="{FF2B5EF4-FFF2-40B4-BE49-F238E27FC236}">
                <a16:creationId xmlns:a16="http://schemas.microsoft.com/office/drawing/2014/main" id="{5DE1CD43-3AE2-4746-A933-5E6511BF50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9646" y="287049"/>
            <a:ext cx="12147667" cy="17819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78219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58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78219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4pt)</a:t>
            </a:r>
            <a:endParaRPr kumimoji="1" lang="ja-JP" altLang="en-US"/>
          </a:p>
        </p:txBody>
      </p:sp>
      <p:sp>
        <p:nvSpPr>
          <p:cNvPr id="12" name="テキスト プレースホルダー 9">
            <a:extLst>
              <a:ext uri="{FF2B5EF4-FFF2-40B4-BE49-F238E27FC236}">
                <a16:creationId xmlns:a16="http://schemas.microsoft.com/office/drawing/2014/main" id="{622769BC-14E8-4007-A733-B7BC3007B01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646" y="550111"/>
            <a:ext cx="12147667" cy="708813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1819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2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</p:spTree>
    <p:extLst>
      <p:ext uri="{BB962C8B-B14F-4D97-AF65-F5344CB8AC3E}">
        <p14:creationId xmlns:p14="http://schemas.microsoft.com/office/powerpoint/2010/main" val="2406076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4827" userDrawn="1">
          <p15:clr>
            <a:srgbClr val="F26B43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KeyMessage/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プレースホルダー 9">
            <a:extLst>
              <a:ext uri="{FF2B5EF4-FFF2-40B4-BE49-F238E27FC236}">
                <a16:creationId xmlns:a16="http://schemas.microsoft.com/office/drawing/2014/main" id="{1E79E0B2-3AE4-4BA1-9F83-6213DB5DF3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9646" y="6764512"/>
            <a:ext cx="12135661" cy="31180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27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Citation</a:t>
            </a:r>
            <a:r>
              <a:rPr kumimoji="1" lang="ja-JP" altLang="en-US"/>
              <a:t> </a:t>
            </a:r>
            <a:r>
              <a:rPr kumimoji="1" lang="en-US" altLang="ja-JP"/>
              <a:t>(10pt)</a:t>
            </a:r>
            <a:endParaRPr kumimoji="1" lang="ja-JP" altLang="en-US"/>
          </a:p>
        </p:txBody>
      </p:sp>
      <p:sp>
        <p:nvSpPr>
          <p:cNvPr id="5" name="タイトル 10">
            <a:extLst>
              <a:ext uri="{FF2B5EF4-FFF2-40B4-BE49-F238E27FC236}">
                <a16:creationId xmlns:a16="http://schemas.microsoft.com/office/drawing/2014/main" id="{157881B5-2654-4C35-9A42-153B82E6F0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9646" y="287049"/>
            <a:ext cx="12147667" cy="17819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78219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58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78219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4pt)</a:t>
            </a:r>
            <a:endParaRPr kumimoji="1" lang="ja-JP" altLang="en-US"/>
          </a:p>
        </p:txBody>
      </p:sp>
      <p:sp>
        <p:nvSpPr>
          <p:cNvPr id="7" name="テキスト プレースホルダー 9">
            <a:extLst>
              <a:ext uri="{FF2B5EF4-FFF2-40B4-BE49-F238E27FC236}">
                <a16:creationId xmlns:a16="http://schemas.microsoft.com/office/drawing/2014/main" id="{A43B6683-162B-403E-8813-32B0E84E9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646" y="550111"/>
            <a:ext cx="12147667" cy="708813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1819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2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</p:spTree>
    <p:extLst>
      <p:ext uri="{BB962C8B-B14F-4D97-AF65-F5344CB8AC3E}">
        <p14:creationId xmlns:p14="http://schemas.microsoft.com/office/powerpoint/2010/main" val="4472323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KeyMessage/Body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プレースホルダー 2">
            <a:extLst>
              <a:ext uri="{FF2B5EF4-FFF2-40B4-BE49-F238E27FC236}">
                <a16:creationId xmlns:a16="http://schemas.microsoft.com/office/drawing/2014/main" id="{7DBBE447-5499-48D1-B24B-E21AB9B755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9646" y="1598019"/>
            <a:ext cx="5815463" cy="5476664"/>
          </a:xfrm>
          <a:prstGeom prst="rect">
            <a:avLst/>
          </a:prstGeom>
        </p:spPr>
        <p:txBody>
          <a:bodyPr lIns="0" tIns="0" rIns="0" bIns="0"/>
          <a:lstStyle>
            <a:lvl1pPr marL="134985" indent="-134985" algn="just" fontAlgn="auto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323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404764" marR="0" indent="-134985" algn="just" defTabSz="782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323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674920" marR="0" indent="-134985" algn="just" defTabSz="6773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323" spc="0" baseline="0">
                <a:solidFill>
                  <a:schemeClr val="tx2"/>
                </a:solidFill>
              </a:defRPr>
            </a:lvl3pPr>
            <a:lvl4pPr marL="944887" marR="0" indent="-134985" algn="just" defTabSz="782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808339" algn="l"/>
              </a:tabLst>
              <a:defRPr sz="1323" spc="0" baseline="0">
                <a:solidFill>
                  <a:schemeClr val="tx2"/>
                </a:solidFill>
              </a:defRPr>
            </a:lvl4pPr>
            <a:lvl5pPr marL="1477390" indent="-132143" fontAlgn="auto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900" spc="15" baseline="0">
                <a:solidFill>
                  <a:schemeClr val="tx2"/>
                </a:solidFill>
              </a:defRPr>
            </a:lvl5pPr>
            <a:lvl7pPr marL="2346595" indent="0">
              <a:buNone/>
              <a:defRPr/>
            </a:lvl7pPr>
          </a:lstStyle>
          <a:p>
            <a:pPr lvl="0"/>
            <a:r>
              <a:rPr kumimoji="1" lang="en-US" altLang="ja-JP"/>
              <a:t>Body (&gt;16pt)</a:t>
            </a:r>
          </a:p>
          <a:p>
            <a:pPr marL="404764" marR="0" lvl="1" indent="-134985" algn="just" defTabSz="782198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/>
            </a:pPr>
            <a:r>
              <a:rPr kumimoji="1" lang="en-US" altLang="ja-JP"/>
              <a:t>Body (&gt;16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10" name="テキスト プレースホルダー 2">
            <a:extLst>
              <a:ext uri="{FF2B5EF4-FFF2-40B4-BE49-F238E27FC236}">
                <a16:creationId xmlns:a16="http://schemas.microsoft.com/office/drawing/2014/main" id="{7C3C2B7E-C9F3-46EA-81B9-91BEAD7671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67843" y="1598020"/>
            <a:ext cx="5815463" cy="5476663"/>
          </a:xfrm>
          <a:prstGeom prst="rect">
            <a:avLst/>
          </a:prstGeom>
        </p:spPr>
        <p:txBody>
          <a:bodyPr lIns="0" tIns="0" rIns="0" bIns="0"/>
          <a:lstStyle>
            <a:lvl1pPr marL="134985" indent="-134985" algn="just" fontAlgn="auto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323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404764" marR="0" indent="-134985" algn="just" defTabSz="782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323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674920" marR="0" indent="-134985" algn="just" defTabSz="6773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323" spc="0" baseline="0">
                <a:solidFill>
                  <a:schemeClr val="tx2"/>
                </a:solidFill>
              </a:defRPr>
            </a:lvl3pPr>
            <a:lvl4pPr marL="944887" marR="0" indent="-134985" algn="just" defTabSz="782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808339" algn="l"/>
              </a:tabLst>
              <a:defRPr sz="1323" spc="0" baseline="0">
                <a:solidFill>
                  <a:schemeClr val="tx2"/>
                </a:solidFill>
              </a:defRPr>
            </a:lvl4pPr>
            <a:lvl5pPr marL="1477390" indent="-132143" fontAlgn="auto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900" spc="15" baseline="0">
                <a:solidFill>
                  <a:schemeClr val="tx2"/>
                </a:solidFill>
              </a:defRPr>
            </a:lvl5pPr>
            <a:lvl7pPr marL="2346595" indent="0">
              <a:buNone/>
              <a:defRPr/>
            </a:lvl7pPr>
          </a:lstStyle>
          <a:p>
            <a:pPr lvl="0"/>
            <a:r>
              <a:rPr kumimoji="1" lang="en-US" altLang="ja-JP"/>
              <a:t>Body (&gt;16pt)</a:t>
            </a:r>
          </a:p>
          <a:p>
            <a:pPr marL="404764" marR="0" lvl="1" indent="-134985" algn="just" defTabSz="782198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/>
            </a:pPr>
            <a:r>
              <a:rPr kumimoji="1" lang="en-US" altLang="ja-JP"/>
              <a:t>Body (&gt;16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9" name="タイトル 10">
            <a:extLst>
              <a:ext uri="{FF2B5EF4-FFF2-40B4-BE49-F238E27FC236}">
                <a16:creationId xmlns:a16="http://schemas.microsoft.com/office/drawing/2014/main" id="{AC3E85B4-DEDD-4F54-9672-0878844A6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9646" y="287049"/>
            <a:ext cx="12147667" cy="17819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78219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58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78219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4pt)</a:t>
            </a:r>
            <a:endParaRPr kumimoji="1" lang="ja-JP" altLang="en-US"/>
          </a:p>
        </p:txBody>
      </p:sp>
      <p:sp>
        <p:nvSpPr>
          <p:cNvPr id="11" name="テキスト プレースホルダー 9">
            <a:extLst>
              <a:ext uri="{FF2B5EF4-FFF2-40B4-BE49-F238E27FC236}">
                <a16:creationId xmlns:a16="http://schemas.microsoft.com/office/drawing/2014/main" id="{25239FB6-536B-477B-B986-4FF24D5757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646" y="550111"/>
            <a:ext cx="12147667" cy="708813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1819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2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</p:spTree>
    <p:extLst>
      <p:ext uri="{BB962C8B-B14F-4D97-AF65-F5344CB8AC3E}">
        <p14:creationId xmlns:p14="http://schemas.microsoft.com/office/powerpoint/2010/main" val="41872570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55657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_1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Freeform 6"/>
          <p:cNvSpPr>
            <a:spLocks/>
          </p:cNvSpPr>
          <p:nvPr/>
        </p:nvSpPr>
        <p:spPr bwMode="auto">
          <a:xfrm>
            <a:off x="702482" y="540631"/>
            <a:ext cx="6381171" cy="3348000"/>
          </a:xfrm>
          <a:custGeom>
            <a:avLst/>
            <a:gdLst>
              <a:gd name="T0" fmla="*/ 0 w 3128"/>
              <a:gd name="T1" fmla="*/ 552 h 2114"/>
              <a:gd name="T2" fmla="*/ 0 w 3128"/>
              <a:gd name="T3" fmla="*/ 2114 h 2114"/>
              <a:gd name="T4" fmla="*/ 3128 w 3128"/>
              <a:gd name="T5" fmla="*/ 2114 h 2114"/>
              <a:gd name="T6" fmla="*/ 3128 w 3128"/>
              <a:gd name="T7" fmla="*/ 0 h 2114"/>
              <a:gd name="T8" fmla="*/ 0 w 3128"/>
              <a:gd name="T9" fmla="*/ 552 h 2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28" h="2114">
                <a:moveTo>
                  <a:pt x="0" y="552"/>
                </a:moveTo>
                <a:lnTo>
                  <a:pt x="0" y="2114"/>
                </a:lnTo>
                <a:lnTo>
                  <a:pt x="3128" y="2114"/>
                </a:lnTo>
                <a:lnTo>
                  <a:pt x="3128" y="0"/>
                </a:lnTo>
                <a:lnTo>
                  <a:pt x="0" y="552"/>
                </a:lnTo>
                <a:close/>
              </a:path>
            </a:pathLst>
          </a:custGeom>
          <a:solidFill>
            <a:srgbClr val="082C6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/>
            <a:endParaRPr lang="en-GB" sz="900" spc="2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32" name="タイトル 14"/>
          <p:cNvSpPr>
            <a:spLocks noGrp="1"/>
          </p:cNvSpPr>
          <p:nvPr>
            <p:ph type="title" hasCustomPrompt="1"/>
          </p:nvPr>
        </p:nvSpPr>
        <p:spPr>
          <a:xfrm>
            <a:off x="996649" y="2002673"/>
            <a:ext cx="5724826" cy="846853"/>
          </a:xfrm>
          <a:prstGeom prst="rect">
            <a:avLst/>
          </a:prstGeom>
        </p:spPr>
        <p:txBody>
          <a:bodyPr lIns="0" tIns="0" rIns="0" bIns="0" anchor="t"/>
          <a:lstStyle>
            <a:lvl1pPr fontAlgn="auto">
              <a:lnSpc>
                <a:spcPct val="100000"/>
              </a:lnSpc>
              <a:spcBef>
                <a:spcPts val="0"/>
              </a:spcBef>
              <a:defRPr sz="2200" b="1" kern="120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タイトル</a:t>
            </a:r>
          </a:p>
        </p:txBody>
      </p:sp>
      <p:sp>
        <p:nvSpPr>
          <p:cNvPr id="33" name="テキスト プレースホルダ 16"/>
          <p:cNvSpPr>
            <a:spLocks noGrp="1"/>
          </p:cNvSpPr>
          <p:nvPr>
            <p:ph type="body" sz="quarter" idx="10" hasCustomPrompt="1"/>
          </p:nvPr>
        </p:nvSpPr>
        <p:spPr>
          <a:xfrm>
            <a:off x="996649" y="1591556"/>
            <a:ext cx="5724826" cy="23939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500" b="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 </a:t>
            </a:r>
            <a:r>
              <a:rPr lang="ja-JP" altLang="en-US"/>
              <a:t>御中</a:t>
            </a:r>
          </a:p>
        </p:txBody>
      </p:sp>
      <p:sp>
        <p:nvSpPr>
          <p:cNvPr id="34" name="テキスト プレースホルダ 16"/>
          <p:cNvSpPr>
            <a:spLocks noGrp="1"/>
          </p:cNvSpPr>
          <p:nvPr>
            <p:ph type="body" sz="quarter" idx="11" hasCustomPrompt="1"/>
          </p:nvPr>
        </p:nvSpPr>
        <p:spPr>
          <a:xfrm>
            <a:off x="996649" y="3307644"/>
            <a:ext cx="5721889" cy="243662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25" name="テキスト プレースホルダ 16"/>
          <p:cNvSpPr>
            <a:spLocks noGrp="1"/>
          </p:cNvSpPr>
          <p:nvPr>
            <p:ph type="body" sz="quarter" idx="12" hasCustomPrompt="1"/>
          </p:nvPr>
        </p:nvSpPr>
        <p:spPr>
          <a:xfrm>
            <a:off x="999586" y="3021246"/>
            <a:ext cx="5721889" cy="229955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35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6060926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4B74ED8-7086-4A54-B270-B1BD6A904AF4}"/>
              </a:ext>
            </a:extLst>
          </p:cNvPr>
          <p:cNvSpPr txBox="1">
            <a:spLocks/>
          </p:cNvSpPr>
          <p:nvPr userDrawn="1"/>
        </p:nvSpPr>
        <p:spPr>
          <a:xfrm>
            <a:off x="0" y="1"/>
            <a:ext cx="181026" cy="75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5D5B1ABD-1229-40A2-8117-7525D9DCAC29}"/>
              </a:ext>
            </a:extLst>
          </p:cNvPr>
          <p:cNvSpPr txBox="1">
            <a:spLocks/>
          </p:cNvSpPr>
          <p:nvPr userDrawn="1"/>
        </p:nvSpPr>
        <p:spPr>
          <a:xfrm>
            <a:off x="0" y="541874"/>
            <a:ext cx="181026" cy="1044000"/>
          </a:xfrm>
          <a:prstGeom prst="rect">
            <a:avLst/>
          </a:prstGeom>
          <a:solidFill>
            <a:srgbClr val="FF9831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45A37E82-27E6-4D72-9413-BAFF9304C2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541874"/>
            <a:ext cx="12037986" cy="10440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400" b="0"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目次タイトル</a:t>
            </a:r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12485748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/Key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プレースホルダー 9">
            <a:extLst>
              <a:ext uri="{FF2B5EF4-FFF2-40B4-BE49-F238E27FC236}">
                <a16:creationId xmlns:a16="http://schemas.microsoft.com/office/drawing/2014/main" id="{0015550C-7860-40A7-8B38-6F00CF7C25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78100"/>
            <a:ext cx="12084294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2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5" name="タイトル 10">
            <a:extLst>
              <a:ext uri="{FF2B5EF4-FFF2-40B4-BE49-F238E27FC236}">
                <a16:creationId xmlns:a16="http://schemas.microsoft.com/office/drawing/2014/main" id="{BD6B0E99-7334-4CFC-85F5-7454FF1C04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287" y="39210"/>
            <a:ext cx="12673237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kern="1200" spc="2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0pt)</a:t>
            </a:r>
            <a:endParaRPr kumimoji="1" lang="ja-JP" altLang="en-US"/>
          </a:p>
        </p:txBody>
      </p: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DD3A42D4-21D3-4830-904E-763862E9D067}"/>
              </a:ext>
            </a:extLst>
          </p:cNvPr>
          <p:cNvCxnSpPr/>
          <p:nvPr userDrawn="1"/>
        </p:nvCxnSpPr>
        <p:spPr bwMode="auto">
          <a:xfrm>
            <a:off x="0" y="1260000"/>
            <a:ext cx="13441190" cy="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1FDAF398-9125-47BE-A310-E2C6E56032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2482" y="324247"/>
            <a:ext cx="12084294" cy="17340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kumimoji="1" lang="en-US" altLang="ja-JP"/>
              <a:t>Title</a:t>
            </a:r>
            <a:r>
              <a:rPr kumimoji="1" lang="ja-JP" altLang="en-US"/>
              <a:t>（</a:t>
            </a:r>
            <a:r>
              <a:rPr kumimoji="1" lang="en-US" altLang="ja-JP"/>
              <a:t>12pt</a:t>
            </a:r>
            <a:r>
              <a:rPr kumimoji="1" lang="ja-JP" altLang="en-US"/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40908745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1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Freeform 6"/>
          <p:cNvSpPr>
            <a:spLocks/>
          </p:cNvSpPr>
          <p:nvPr/>
        </p:nvSpPr>
        <p:spPr bwMode="auto">
          <a:xfrm>
            <a:off x="702482" y="540631"/>
            <a:ext cx="6381171" cy="3348000"/>
          </a:xfrm>
          <a:custGeom>
            <a:avLst/>
            <a:gdLst>
              <a:gd name="T0" fmla="*/ 0 w 3128"/>
              <a:gd name="T1" fmla="*/ 552 h 2114"/>
              <a:gd name="T2" fmla="*/ 0 w 3128"/>
              <a:gd name="T3" fmla="*/ 2114 h 2114"/>
              <a:gd name="T4" fmla="*/ 3128 w 3128"/>
              <a:gd name="T5" fmla="*/ 2114 h 2114"/>
              <a:gd name="T6" fmla="*/ 3128 w 3128"/>
              <a:gd name="T7" fmla="*/ 0 h 2114"/>
              <a:gd name="T8" fmla="*/ 0 w 3128"/>
              <a:gd name="T9" fmla="*/ 552 h 2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28" h="2114">
                <a:moveTo>
                  <a:pt x="0" y="552"/>
                </a:moveTo>
                <a:lnTo>
                  <a:pt x="0" y="2114"/>
                </a:lnTo>
                <a:lnTo>
                  <a:pt x="3128" y="2114"/>
                </a:lnTo>
                <a:lnTo>
                  <a:pt x="3128" y="0"/>
                </a:lnTo>
                <a:lnTo>
                  <a:pt x="0" y="552"/>
                </a:lnTo>
                <a:close/>
              </a:path>
            </a:pathLst>
          </a:custGeom>
          <a:solidFill>
            <a:srgbClr val="082C6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/>
            <a:endParaRPr lang="en-GB" sz="900" spc="20" baseline="0">
              <a:solidFill>
                <a:schemeClr val="bg1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32" name="タイトル 14"/>
          <p:cNvSpPr>
            <a:spLocks noGrp="1"/>
          </p:cNvSpPr>
          <p:nvPr>
            <p:ph type="title" hasCustomPrompt="1"/>
          </p:nvPr>
        </p:nvSpPr>
        <p:spPr>
          <a:xfrm>
            <a:off x="996649" y="2002673"/>
            <a:ext cx="5724826" cy="846853"/>
          </a:xfrm>
          <a:prstGeom prst="rect">
            <a:avLst/>
          </a:prstGeom>
          <a:solidFill>
            <a:srgbClr val="082C65"/>
          </a:solidFill>
        </p:spPr>
        <p:txBody>
          <a:bodyPr lIns="0" tIns="0" rIns="0" bIns="0" anchor="t"/>
          <a:lstStyle>
            <a:lvl1pPr fontAlgn="auto">
              <a:lnSpc>
                <a:spcPct val="100000"/>
              </a:lnSpc>
              <a:spcBef>
                <a:spcPts val="0"/>
              </a:spcBef>
              <a:defRPr sz="2200" b="1" kern="120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タイトル</a:t>
            </a:r>
          </a:p>
        </p:txBody>
      </p:sp>
      <p:sp>
        <p:nvSpPr>
          <p:cNvPr id="33" name="テキスト プレースホルダ 16"/>
          <p:cNvSpPr>
            <a:spLocks noGrp="1"/>
          </p:cNvSpPr>
          <p:nvPr>
            <p:ph type="body" sz="quarter" idx="10" hasCustomPrompt="1"/>
          </p:nvPr>
        </p:nvSpPr>
        <p:spPr>
          <a:xfrm>
            <a:off x="996649" y="1591556"/>
            <a:ext cx="5724826" cy="239396"/>
          </a:xfrm>
          <a:prstGeom prst="rect">
            <a:avLst/>
          </a:prstGeom>
          <a:solidFill>
            <a:srgbClr val="082C65"/>
          </a:solidFill>
        </p:spPr>
        <p:txBody>
          <a:bodyPr lIns="0" tIns="0" rIns="0" bIns="0" anchor="t">
            <a:noAutofit/>
          </a:bodyPr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500" b="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 </a:t>
            </a:r>
            <a:r>
              <a:rPr lang="ja-JP" altLang="en-US"/>
              <a:t>御中</a:t>
            </a:r>
          </a:p>
        </p:txBody>
      </p:sp>
      <p:sp>
        <p:nvSpPr>
          <p:cNvPr id="34" name="テキスト プレースホルダ 16"/>
          <p:cNvSpPr>
            <a:spLocks noGrp="1"/>
          </p:cNvSpPr>
          <p:nvPr>
            <p:ph type="body" sz="quarter" idx="11" hasCustomPrompt="1"/>
          </p:nvPr>
        </p:nvSpPr>
        <p:spPr>
          <a:xfrm>
            <a:off x="996649" y="3307644"/>
            <a:ext cx="5721889" cy="243662"/>
          </a:xfrm>
          <a:prstGeom prst="rect">
            <a:avLst/>
          </a:prstGeom>
          <a:solidFill>
            <a:srgbClr val="082C65"/>
          </a:solidFill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25" name="テキスト プレースホルダ 16"/>
          <p:cNvSpPr>
            <a:spLocks noGrp="1"/>
          </p:cNvSpPr>
          <p:nvPr>
            <p:ph type="body" sz="quarter" idx="12" hasCustomPrompt="1"/>
          </p:nvPr>
        </p:nvSpPr>
        <p:spPr>
          <a:xfrm>
            <a:off x="999586" y="3021246"/>
            <a:ext cx="5721889" cy="229955"/>
          </a:xfrm>
          <a:prstGeom prst="rect">
            <a:avLst/>
          </a:prstGeom>
          <a:solidFill>
            <a:srgbClr val="082C65"/>
          </a:solidFill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35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445276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2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FE8EE0FE-D16D-499D-8EEB-A7476F8BA88C}"/>
              </a:ext>
            </a:extLst>
          </p:cNvPr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chemeClr val="accent3">
              <a:alpha val="89804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/>
            <a:endParaRPr kumimoji="1" lang="ja-JP" altLang="en-US" sz="1200" spc="2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75" name="Freeform 6"/>
          <p:cNvSpPr>
            <a:spLocks/>
          </p:cNvSpPr>
          <p:nvPr/>
        </p:nvSpPr>
        <p:spPr bwMode="auto">
          <a:xfrm>
            <a:off x="702482" y="540631"/>
            <a:ext cx="6381171" cy="3348000"/>
          </a:xfrm>
          <a:custGeom>
            <a:avLst/>
            <a:gdLst>
              <a:gd name="T0" fmla="*/ 0 w 3128"/>
              <a:gd name="T1" fmla="*/ 552 h 2114"/>
              <a:gd name="T2" fmla="*/ 0 w 3128"/>
              <a:gd name="T3" fmla="*/ 2114 h 2114"/>
              <a:gd name="T4" fmla="*/ 3128 w 3128"/>
              <a:gd name="T5" fmla="*/ 2114 h 2114"/>
              <a:gd name="T6" fmla="*/ 3128 w 3128"/>
              <a:gd name="T7" fmla="*/ 0 h 2114"/>
              <a:gd name="T8" fmla="*/ 0 w 3128"/>
              <a:gd name="T9" fmla="*/ 552 h 2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28" h="2114">
                <a:moveTo>
                  <a:pt x="0" y="552"/>
                </a:moveTo>
                <a:lnTo>
                  <a:pt x="0" y="2114"/>
                </a:lnTo>
                <a:lnTo>
                  <a:pt x="3128" y="2114"/>
                </a:lnTo>
                <a:lnTo>
                  <a:pt x="3128" y="0"/>
                </a:lnTo>
                <a:lnTo>
                  <a:pt x="0" y="552"/>
                </a:lnTo>
                <a:close/>
              </a:path>
            </a:pathLst>
          </a:custGeom>
          <a:solidFill>
            <a:srgbClr val="082C6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/>
            <a:endParaRPr lang="en-GB" sz="900" spc="0" baseline="0">
              <a:solidFill>
                <a:schemeClr val="bg1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46E83B7F-EA03-482F-8888-E397D8B0DCF8}"/>
              </a:ext>
            </a:extLst>
          </p:cNvPr>
          <p:cNvSpPr/>
          <p:nvPr userDrawn="1"/>
        </p:nvSpPr>
        <p:spPr>
          <a:xfrm>
            <a:off x="11143918" y="0"/>
            <a:ext cx="2299032" cy="472440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背景に写真を挿入することを前提にしている</a:t>
            </a:r>
          </a:p>
        </p:txBody>
      </p:sp>
      <p:sp>
        <p:nvSpPr>
          <p:cNvPr id="13" name="タイトル 14">
            <a:extLst>
              <a:ext uri="{FF2B5EF4-FFF2-40B4-BE49-F238E27FC236}">
                <a16:creationId xmlns:a16="http://schemas.microsoft.com/office/drawing/2014/main" id="{604C3900-90F2-4B8A-AA36-E2B0ED5E8E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6649" y="2002673"/>
            <a:ext cx="5724826" cy="846853"/>
          </a:xfrm>
          <a:prstGeom prst="rect">
            <a:avLst/>
          </a:prstGeom>
          <a:solidFill>
            <a:srgbClr val="082C65"/>
          </a:solidFill>
        </p:spPr>
        <p:txBody>
          <a:bodyPr lIns="0" tIns="0" rIns="0" bIns="0" anchor="t"/>
          <a:lstStyle>
            <a:lvl1pPr fontAlgn="auto">
              <a:lnSpc>
                <a:spcPct val="100000"/>
              </a:lnSpc>
              <a:spcBef>
                <a:spcPts val="0"/>
              </a:spcBef>
              <a:defRPr sz="2200" b="1" kern="120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タイトル</a:t>
            </a:r>
          </a:p>
        </p:txBody>
      </p:sp>
      <p:sp>
        <p:nvSpPr>
          <p:cNvPr id="14" name="テキスト プレースホルダ 16">
            <a:extLst>
              <a:ext uri="{FF2B5EF4-FFF2-40B4-BE49-F238E27FC236}">
                <a16:creationId xmlns:a16="http://schemas.microsoft.com/office/drawing/2014/main" id="{3ED6534B-D57A-491E-8FDC-40E044C2BC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96649" y="1591556"/>
            <a:ext cx="5724826" cy="239396"/>
          </a:xfrm>
          <a:prstGeom prst="rect">
            <a:avLst/>
          </a:prstGeom>
          <a:solidFill>
            <a:srgbClr val="082C65"/>
          </a:solidFill>
        </p:spPr>
        <p:txBody>
          <a:bodyPr lIns="0" tIns="0" rIns="0" bIns="0" anchor="t">
            <a:noAutofit/>
          </a:bodyPr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500" b="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 </a:t>
            </a:r>
            <a:r>
              <a:rPr lang="ja-JP" altLang="en-US"/>
              <a:t>御中</a:t>
            </a:r>
          </a:p>
        </p:txBody>
      </p:sp>
      <p:sp>
        <p:nvSpPr>
          <p:cNvPr id="15" name="テキスト プレースホルダ 16">
            <a:extLst>
              <a:ext uri="{FF2B5EF4-FFF2-40B4-BE49-F238E27FC236}">
                <a16:creationId xmlns:a16="http://schemas.microsoft.com/office/drawing/2014/main" id="{1D7A96E6-BD21-40AD-AD5B-3BF24CA4AE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96649" y="3307644"/>
            <a:ext cx="5721889" cy="243662"/>
          </a:xfrm>
          <a:prstGeom prst="rect">
            <a:avLst/>
          </a:prstGeom>
          <a:solidFill>
            <a:srgbClr val="082C65"/>
          </a:solidFill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16" name="テキスト プレースホルダ 16">
            <a:extLst>
              <a:ext uri="{FF2B5EF4-FFF2-40B4-BE49-F238E27FC236}">
                <a16:creationId xmlns:a16="http://schemas.microsoft.com/office/drawing/2014/main" id="{40F0529B-BD5E-4803-A38C-1FD322FFB8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586" y="3021246"/>
            <a:ext cx="5721889" cy="229955"/>
          </a:xfrm>
          <a:prstGeom prst="rect">
            <a:avLst/>
          </a:prstGeom>
          <a:solidFill>
            <a:srgbClr val="082C65"/>
          </a:solidFill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35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999094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3 (White) Long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>
            <a:extLst>
              <a:ext uri="{FF2B5EF4-FFF2-40B4-BE49-F238E27FC236}">
                <a16:creationId xmlns:a16="http://schemas.microsoft.com/office/drawing/2014/main" id="{D690C839-DE61-4087-9C50-DE0AA3D82C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2483" y="316992"/>
            <a:ext cx="7894939" cy="3558870"/>
          </a:xfrm>
          <a:prstGeom prst="rect">
            <a:avLst/>
          </a:prstGeom>
          <a:solidFill>
            <a:schemeClr val="accent4"/>
          </a:solidFill>
        </p:spPr>
      </p:pic>
      <p:sp>
        <p:nvSpPr>
          <p:cNvPr id="32" name="タイトル 14"/>
          <p:cNvSpPr>
            <a:spLocks noGrp="1"/>
          </p:cNvSpPr>
          <p:nvPr>
            <p:ph type="title" hasCustomPrompt="1"/>
          </p:nvPr>
        </p:nvSpPr>
        <p:spPr>
          <a:xfrm>
            <a:off x="996649" y="2002673"/>
            <a:ext cx="7325846" cy="846853"/>
          </a:xfrm>
          <a:prstGeom prst="rect">
            <a:avLst/>
          </a:prstGeom>
        </p:spPr>
        <p:txBody>
          <a:bodyPr lIns="0" tIns="0" rIns="0" bIns="0" anchor="t"/>
          <a:lstStyle>
            <a:lvl1pPr fontAlgn="auto">
              <a:lnSpc>
                <a:spcPct val="100000"/>
              </a:lnSpc>
              <a:spcBef>
                <a:spcPts val="0"/>
              </a:spcBef>
              <a:defRPr sz="2200" b="1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タイトル</a:t>
            </a:r>
          </a:p>
        </p:txBody>
      </p:sp>
      <p:sp>
        <p:nvSpPr>
          <p:cNvPr id="33" name="テキスト プレースホルダ 16"/>
          <p:cNvSpPr>
            <a:spLocks noGrp="1"/>
          </p:cNvSpPr>
          <p:nvPr>
            <p:ph type="body" sz="quarter" idx="10" hasCustomPrompt="1"/>
          </p:nvPr>
        </p:nvSpPr>
        <p:spPr>
          <a:xfrm>
            <a:off x="996649" y="1591556"/>
            <a:ext cx="7325846" cy="23939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5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 </a:t>
            </a:r>
            <a:r>
              <a:rPr lang="ja-JP" altLang="en-US"/>
              <a:t>御中</a:t>
            </a:r>
          </a:p>
        </p:txBody>
      </p:sp>
      <p:sp>
        <p:nvSpPr>
          <p:cNvPr id="34" name="テキスト プレースホルダ 16"/>
          <p:cNvSpPr>
            <a:spLocks noGrp="1"/>
          </p:cNvSpPr>
          <p:nvPr>
            <p:ph type="body" sz="quarter" idx="11" hasCustomPrompt="1"/>
          </p:nvPr>
        </p:nvSpPr>
        <p:spPr>
          <a:xfrm>
            <a:off x="996649" y="3318934"/>
            <a:ext cx="7322088" cy="232373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25" name="テキスト プレースホルダ 16"/>
          <p:cNvSpPr>
            <a:spLocks noGrp="1"/>
          </p:cNvSpPr>
          <p:nvPr>
            <p:ph type="body" sz="quarter" idx="12" hasCustomPrompt="1"/>
          </p:nvPr>
        </p:nvSpPr>
        <p:spPr>
          <a:xfrm>
            <a:off x="999586" y="3021247"/>
            <a:ext cx="7322088" cy="241243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35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4283190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324B42D-AE01-47C1-9F6C-0919F512BD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539749"/>
            <a:ext cx="12037986" cy="1044576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400" b="0"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はじめにタイトル</a:t>
            </a:r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159768085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4B74ED8-7086-4A54-B270-B1BD6A904AF4}"/>
              </a:ext>
            </a:extLst>
          </p:cNvPr>
          <p:cNvSpPr txBox="1">
            <a:spLocks/>
          </p:cNvSpPr>
          <p:nvPr userDrawn="1"/>
        </p:nvSpPr>
        <p:spPr>
          <a:xfrm>
            <a:off x="0" y="1"/>
            <a:ext cx="181026" cy="75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5D5B1ABD-1229-40A2-8117-7525D9DCAC29}"/>
              </a:ext>
            </a:extLst>
          </p:cNvPr>
          <p:cNvSpPr txBox="1">
            <a:spLocks/>
          </p:cNvSpPr>
          <p:nvPr userDrawn="1"/>
        </p:nvSpPr>
        <p:spPr>
          <a:xfrm>
            <a:off x="0" y="541874"/>
            <a:ext cx="181026" cy="1044000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45A37E82-27E6-4D72-9413-BAFF9304C2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541874"/>
            <a:ext cx="12037986" cy="10440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400" b="0"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目次タイトル</a:t>
            </a:r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39103374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DE62A711-1482-4192-9F96-3DE6344705C9}"/>
              </a:ext>
            </a:extLst>
          </p:cNvPr>
          <p:cNvSpPr txBox="1">
            <a:spLocks/>
          </p:cNvSpPr>
          <p:nvPr userDrawn="1"/>
        </p:nvSpPr>
        <p:spPr>
          <a:xfrm>
            <a:off x="-261" y="541347"/>
            <a:ext cx="702742" cy="1044000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D5056EDA-54AC-47D2-BDF3-8AB32D0034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6157" y="542977"/>
            <a:ext cx="11658570" cy="1041348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400" b="0"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目次タイトル</a:t>
            </a:r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24020774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7AFB739-4EFB-4021-B261-1BEC68EA7C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41538" y="2828545"/>
            <a:ext cx="7898931" cy="1860859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</p:spTree>
    <p:extLst>
      <p:ext uri="{BB962C8B-B14F-4D97-AF65-F5344CB8AC3E}">
        <p14:creationId xmlns:p14="http://schemas.microsoft.com/office/powerpoint/2010/main" val="141549214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>
            <a:extLst>
              <a:ext uri="{FF2B5EF4-FFF2-40B4-BE49-F238E27FC236}">
                <a16:creationId xmlns:a16="http://schemas.microsoft.com/office/drawing/2014/main" id="{EB964AD3-5C01-4342-859A-2B289C169223}"/>
              </a:ext>
            </a:extLst>
          </p:cNvPr>
          <p:cNvSpPr>
            <a:spLocks/>
          </p:cNvSpPr>
          <p:nvPr/>
        </p:nvSpPr>
        <p:spPr bwMode="gray">
          <a:xfrm>
            <a:off x="0" y="1"/>
            <a:ext cx="7344494" cy="517398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19 h 10000"/>
              <a:gd name="connsiteX3" fmla="*/ 0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10000" y="8019"/>
                </a:lnTo>
                <a:lnTo>
                  <a:pt x="0" y="10000"/>
                </a:lnTo>
                <a:lnTo>
                  <a:pt x="0" y="0"/>
                </a:lnTo>
                <a:close/>
              </a:path>
            </a:pathLst>
          </a:custGeom>
          <a:solidFill>
            <a:srgbClr val="082C65">
              <a:alpha val="90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GB" sz="992">
              <a:solidFill>
                <a:schemeClr val="bg1"/>
              </a:solidFill>
            </a:endParaRPr>
          </a:p>
        </p:txBody>
      </p:sp>
      <p:sp>
        <p:nvSpPr>
          <p:cNvPr id="5" name="タイトル 4">
            <a:extLst>
              <a:ext uri="{FF2B5EF4-FFF2-40B4-BE49-F238E27FC236}">
                <a16:creationId xmlns:a16="http://schemas.microsoft.com/office/drawing/2014/main" id="{11F351C6-F573-4213-828B-01A88AFD0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1172425"/>
            <a:ext cx="6044082" cy="2343661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</p:spTree>
    <p:extLst>
      <p:ext uri="{BB962C8B-B14F-4D97-AF65-F5344CB8AC3E}">
        <p14:creationId xmlns:p14="http://schemas.microsoft.com/office/powerpoint/2010/main" val="1899068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CC60F6E-79E1-42FD-816F-62E1118C4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156909"/>
            <a:ext cx="12037986" cy="1260000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3562A8C4-BFAC-45C1-97C1-1F49DF283F96}"/>
              </a:ext>
            </a:extLst>
          </p:cNvPr>
          <p:cNvSpPr txBox="1">
            <a:spLocks/>
          </p:cNvSpPr>
          <p:nvPr userDrawn="1"/>
        </p:nvSpPr>
        <p:spPr>
          <a:xfrm>
            <a:off x="0" y="1"/>
            <a:ext cx="181026" cy="75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040CF0E0-7A6D-42BA-8CF9-9662BA9C1D75}"/>
              </a:ext>
            </a:extLst>
          </p:cNvPr>
          <p:cNvSpPr txBox="1">
            <a:spLocks/>
          </p:cNvSpPr>
          <p:nvPr userDrawn="1"/>
        </p:nvSpPr>
        <p:spPr>
          <a:xfrm>
            <a:off x="-260" y="3150867"/>
            <a:ext cx="181026" cy="1260000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616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DE62A711-1482-4192-9F96-3DE6344705C9}"/>
              </a:ext>
            </a:extLst>
          </p:cNvPr>
          <p:cNvSpPr txBox="1">
            <a:spLocks/>
          </p:cNvSpPr>
          <p:nvPr userDrawn="1"/>
        </p:nvSpPr>
        <p:spPr>
          <a:xfrm>
            <a:off x="-261" y="541347"/>
            <a:ext cx="702742" cy="1044000"/>
          </a:xfrm>
          <a:prstGeom prst="rect">
            <a:avLst/>
          </a:prstGeom>
          <a:solidFill>
            <a:srgbClr val="FF9831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D5056EDA-54AC-47D2-BDF3-8AB32D0034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6157" y="542977"/>
            <a:ext cx="11658570" cy="1041348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400" b="0"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目次タイトル</a:t>
            </a:r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30272546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1">
            <a:extLst>
              <a:ext uri="{FF2B5EF4-FFF2-40B4-BE49-F238E27FC236}">
                <a16:creationId xmlns:a16="http://schemas.microsoft.com/office/drawing/2014/main" id="{174B109A-EDC3-45F0-8BBD-677FCDC83B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4778" y="3150868"/>
            <a:ext cx="11645690" cy="1259999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A0B98F9-28DF-45AF-9554-283B5B36EDE4}"/>
              </a:ext>
            </a:extLst>
          </p:cNvPr>
          <p:cNvSpPr txBox="1">
            <a:spLocks/>
          </p:cNvSpPr>
          <p:nvPr userDrawn="1"/>
        </p:nvSpPr>
        <p:spPr>
          <a:xfrm>
            <a:off x="-261" y="3150867"/>
            <a:ext cx="702742" cy="1260000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527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53B741FA-6E97-4188-9002-936FC6D932E4}"/>
              </a:ext>
            </a:extLst>
          </p:cNvPr>
          <p:cNvSpPr/>
          <p:nvPr userDrawn="1"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082C65">
              <a:alpha val="8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/>
            <a:endParaRPr kumimoji="1" lang="ja-JP" altLang="en-US" sz="1200" spc="2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8564909A-C113-45A2-B9D3-071BEDD2ED15}"/>
              </a:ext>
            </a:extLst>
          </p:cNvPr>
          <p:cNvSpPr/>
          <p:nvPr userDrawn="1"/>
        </p:nvSpPr>
        <p:spPr>
          <a:xfrm>
            <a:off x="11143918" y="0"/>
            <a:ext cx="2299032" cy="472440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背景に写真を挿入することを前提にしている</a:t>
            </a:r>
          </a:p>
        </p:txBody>
      </p:sp>
      <p:sp>
        <p:nvSpPr>
          <p:cNvPr id="7" name="タイトル 4">
            <a:extLst>
              <a:ext uri="{FF2B5EF4-FFF2-40B4-BE49-F238E27FC236}">
                <a16:creationId xmlns:a16="http://schemas.microsoft.com/office/drawing/2014/main" id="{E2D499C8-05EF-44B4-9799-87A11E4F6A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5761158"/>
            <a:ext cx="13442949" cy="1260000"/>
          </a:xfrm>
          <a:prstGeom prst="rect">
            <a:avLst/>
          </a:prstGeom>
          <a:solidFill>
            <a:srgbClr val="2E2E38">
              <a:alpha val="80000"/>
            </a:srgbClr>
          </a:solidFill>
          <a:ln>
            <a:noFill/>
          </a:ln>
        </p:spPr>
        <p:txBody>
          <a:bodyPr lIns="900000" tIns="0" rIns="0" bIns="0" anchor="ctr"/>
          <a:lstStyle>
            <a:lvl1pPr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E1718A2-1858-4C26-AE4C-A42CBF6E4268}"/>
              </a:ext>
            </a:extLst>
          </p:cNvPr>
          <p:cNvSpPr txBox="1">
            <a:spLocks/>
          </p:cNvSpPr>
          <p:nvPr userDrawn="1"/>
        </p:nvSpPr>
        <p:spPr>
          <a:xfrm>
            <a:off x="-916766" y="5761158"/>
            <a:ext cx="702742" cy="126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D8BD0885-BB47-4A5E-B67E-D549DC6855D1}"/>
              </a:ext>
            </a:extLst>
          </p:cNvPr>
          <p:cNvSpPr/>
          <p:nvPr userDrawn="1"/>
        </p:nvSpPr>
        <p:spPr>
          <a:xfrm>
            <a:off x="-1988352" y="4806779"/>
            <a:ext cx="1696657" cy="822548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実際のスライドの上に、以下の黄色ボックスを乗せる</a:t>
            </a:r>
          </a:p>
        </p:txBody>
      </p:sp>
    </p:spTree>
    <p:extLst>
      <p:ext uri="{BB962C8B-B14F-4D97-AF65-F5344CB8AC3E}">
        <p14:creationId xmlns:p14="http://schemas.microsoft.com/office/powerpoint/2010/main" val="42862298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A26BA5A-2D2B-4FEF-82ED-F588A7B5520F}"/>
              </a:ext>
            </a:extLst>
          </p:cNvPr>
          <p:cNvSpPr/>
          <p:nvPr userDrawn="1"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082C65">
              <a:alpha val="8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/>
            <a:endParaRPr kumimoji="1" lang="ja-JP" altLang="en-US" sz="1200" spc="2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7A66ACEB-E63A-4C19-8A83-FD7E852942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764978"/>
            <a:ext cx="13442950" cy="125999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lIns="90000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2742A7FA-F632-446F-ACE9-69415B5EA6BF}"/>
              </a:ext>
            </a:extLst>
          </p:cNvPr>
          <p:cNvSpPr/>
          <p:nvPr userDrawn="1"/>
        </p:nvSpPr>
        <p:spPr>
          <a:xfrm>
            <a:off x="11143918" y="0"/>
            <a:ext cx="2299032" cy="472440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背景に写真を挿入することを前提にしている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A4EF6AD-6385-43A1-9598-36F7215016C3}"/>
              </a:ext>
            </a:extLst>
          </p:cNvPr>
          <p:cNvSpPr txBox="1">
            <a:spLocks/>
          </p:cNvSpPr>
          <p:nvPr userDrawn="1"/>
        </p:nvSpPr>
        <p:spPr>
          <a:xfrm>
            <a:off x="-994437" y="5764976"/>
            <a:ext cx="702742" cy="126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C3414484-D12A-4736-B8CD-91CE53FE505F}"/>
              </a:ext>
            </a:extLst>
          </p:cNvPr>
          <p:cNvSpPr/>
          <p:nvPr userDrawn="1"/>
        </p:nvSpPr>
        <p:spPr>
          <a:xfrm>
            <a:off x="-1988352" y="4806779"/>
            <a:ext cx="1696657" cy="822548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実際のスライドの上に、以下の黄色ボックスを乗せる</a:t>
            </a:r>
          </a:p>
        </p:txBody>
      </p:sp>
    </p:spTree>
    <p:extLst>
      <p:ext uri="{BB962C8B-B14F-4D97-AF65-F5344CB8AC3E}">
        <p14:creationId xmlns:p14="http://schemas.microsoft.com/office/powerpoint/2010/main" val="1595284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C779E1E-E64A-4D07-8775-F5850E621024}"/>
              </a:ext>
            </a:extLst>
          </p:cNvPr>
          <p:cNvSpPr txBox="1">
            <a:spLocks/>
          </p:cNvSpPr>
          <p:nvPr userDrawn="1"/>
        </p:nvSpPr>
        <p:spPr>
          <a:xfrm>
            <a:off x="0" y="1"/>
            <a:ext cx="181026" cy="75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C8E07BA0-F8A4-48A5-9061-34B24BDE88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1591696"/>
            <a:ext cx="11645690" cy="1044000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問合せ先タイトル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8A8F518-7535-43B6-BB08-B7E16B936A8C}"/>
              </a:ext>
            </a:extLst>
          </p:cNvPr>
          <p:cNvSpPr txBox="1">
            <a:spLocks/>
          </p:cNvSpPr>
          <p:nvPr userDrawn="1"/>
        </p:nvSpPr>
        <p:spPr>
          <a:xfrm>
            <a:off x="-260" y="1580248"/>
            <a:ext cx="181026" cy="1044000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255004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EC307041-69BD-4E0C-A6B6-19E01885799F}"/>
              </a:ext>
            </a:extLst>
          </p:cNvPr>
          <p:cNvSpPr txBox="1">
            <a:spLocks/>
          </p:cNvSpPr>
          <p:nvPr userDrawn="1"/>
        </p:nvSpPr>
        <p:spPr>
          <a:xfrm>
            <a:off x="-260" y="1592042"/>
            <a:ext cx="702742" cy="1044000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F6CB3E25-F953-4928-8ECF-566A86E21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06940" y="1591696"/>
            <a:ext cx="11633528" cy="1044000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問合せ先タイトル</a:t>
            </a:r>
          </a:p>
        </p:txBody>
      </p:sp>
    </p:spTree>
    <p:extLst>
      <p:ext uri="{BB962C8B-B14F-4D97-AF65-F5344CB8AC3E}">
        <p14:creationId xmlns:p14="http://schemas.microsoft.com/office/powerpoint/2010/main" val="83775880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1">
            <a:extLst>
              <a:ext uri="{FF2B5EF4-FFF2-40B4-BE49-F238E27FC236}">
                <a16:creationId xmlns:a16="http://schemas.microsoft.com/office/drawing/2014/main" id="{72C2B6F4-CAB6-41A3-A296-9325AFFC0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6261431"/>
            <a:ext cx="2556734" cy="348338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2000" b="1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問合せ先タイトル</a:t>
            </a:r>
          </a:p>
        </p:txBody>
      </p:sp>
    </p:spTree>
    <p:extLst>
      <p:ext uri="{BB962C8B-B14F-4D97-AF65-F5344CB8AC3E}">
        <p14:creationId xmlns:p14="http://schemas.microsoft.com/office/powerpoint/2010/main" val="253740065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10">
            <a:extLst>
              <a:ext uri="{FF2B5EF4-FFF2-40B4-BE49-F238E27FC236}">
                <a16:creationId xmlns:a16="http://schemas.microsoft.com/office/drawing/2014/main" id="{958C2D59-3DBD-4546-B127-0587E32BFD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  <p:sp>
        <p:nvSpPr>
          <p:cNvPr id="4" name="テキスト プレースホルダー 9">
            <a:extLst>
              <a:ext uri="{FF2B5EF4-FFF2-40B4-BE49-F238E27FC236}">
                <a16:creationId xmlns:a16="http://schemas.microsoft.com/office/drawing/2014/main" id="{448BB802-219C-4D0C-B6C4-FA6D1E8BB5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1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</p:spTree>
    <p:extLst>
      <p:ext uri="{BB962C8B-B14F-4D97-AF65-F5344CB8AC3E}">
        <p14:creationId xmlns:p14="http://schemas.microsoft.com/office/powerpoint/2010/main" val="2381501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/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テキスト プレースホルダー 2">
            <a:extLst>
              <a:ext uri="{FF2B5EF4-FFF2-40B4-BE49-F238E27FC236}">
                <a16:creationId xmlns:a16="http://schemas.microsoft.com/office/drawing/2014/main" id="{D0EE814B-D29B-4779-9167-F3A5FE36EF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2230" y="1584326"/>
            <a:ext cx="12038238" cy="5436939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53975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900000" marR="0" indent="-180000" algn="just" defTabSz="903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spc="0" baseline="0">
                <a:solidFill>
                  <a:schemeClr val="tx2"/>
                </a:solidFill>
              </a:defRPr>
            </a:lvl3pPr>
            <a:lvl4pPr marL="1260000" marR="0" indent="-180000" algn="just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1077913" algn="l"/>
              </a:tabLst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4pPr>
            <a:lvl5pPr marL="1970088" indent="-176213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/>
            </a:lvl5pPr>
            <a:lvl7pPr marL="3129168" indent="0">
              <a:buNone/>
              <a:defRPr/>
            </a:lvl7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7" name="テキスト プレースホルダー 9">
            <a:extLst>
              <a:ext uri="{FF2B5EF4-FFF2-40B4-BE49-F238E27FC236}">
                <a16:creationId xmlns:a16="http://schemas.microsoft.com/office/drawing/2014/main" id="{1FB5442B-D0A8-42BF-9947-EDDB4B207A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9" name="タイトル 10">
            <a:extLst>
              <a:ext uri="{FF2B5EF4-FFF2-40B4-BE49-F238E27FC236}">
                <a16:creationId xmlns:a16="http://schemas.microsoft.com/office/drawing/2014/main" id="{039D7730-C383-44E3-B20D-571DF1CE9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140488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KeyMessage/Body/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プレースホルダー 9">
            <a:extLst>
              <a:ext uri="{FF2B5EF4-FFF2-40B4-BE49-F238E27FC236}">
                <a16:creationId xmlns:a16="http://schemas.microsoft.com/office/drawing/2014/main" id="{1FB5442B-D0A8-42BF-9947-EDDB4B207A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9" name="タイトル 10">
            <a:extLst>
              <a:ext uri="{FF2B5EF4-FFF2-40B4-BE49-F238E27FC236}">
                <a16:creationId xmlns:a16="http://schemas.microsoft.com/office/drawing/2014/main" id="{039D7730-C383-44E3-B20D-571DF1CE9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  <p:sp>
        <p:nvSpPr>
          <p:cNvPr id="17" name="テキスト プレースホルダー 16">
            <a:extLst>
              <a:ext uri="{FF2B5EF4-FFF2-40B4-BE49-F238E27FC236}">
                <a16:creationId xmlns:a16="http://schemas.microsoft.com/office/drawing/2014/main" id="{0645EE0F-DCA4-4F69-A2E1-FF86A740B5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2482" y="1584325"/>
            <a:ext cx="12037986" cy="5138738"/>
          </a:xfrm>
          <a:prstGeom prst="rect">
            <a:avLst/>
          </a:prstGeom>
        </p:spPr>
        <p:txBody>
          <a:bodyPr lIns="0" tIns="0" rIns="0" bIns="0"/>
          <a:lstStyle>
            <a:lvl1pPr marL="182563" indent="-1825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b="0" spc="0" baseline="0"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538163" marR="0" indent="-182563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b="0" spc="0" baseline="0"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892175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b="0" spc="0" baseline="0"/>
            </a:lvl3pPr>
            <a:lvl4pPr marL="1258888" indent="-1825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b="0" spc="0" baseline="0"/>
            </a:lvl4pPr>
            <a:lvl5pPr marL="2039030" indent="-403823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 b="0" baseline="0"/>
            </a:lvl5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19" name="テキスト プレースホルダー 18">
            <a:extLst>
              <a:ext uri="{FF2B5EF4-FFF2-40B4-BE49-F238E27FC236}">
                <a16:creationId xmlns:a16="http://schemas.microsoft.com/office/drawing/2014/main" id="{19BA2BD0-9B5F-4140-A079-58A3C3DA6D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2482" y="6723063"/>
            <a:ext cx="12037986" cy="29845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Clr>
                <a:schemeClr val="accent1"/>
              </a:buClr>
              <a:buSzPct val="100000"/>
              <a:buFontTx/>
              <a:buNone/>
              <a:defRPr sz="900" spc="0" baseline="0"/>
            </a:lvl1pPr>
          </a:lstStyle>
          <a:p>
            <a:pPr lvl="0"/>
            <a:r>
              <a:rPr kumimoji="1" lang="en-US" altLang="ja-JP"/>
              <a:t>Citation (9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277030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/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プレースホルダー 9">
            <a:extLst>
              <a:ext uri="{FF2B5EF4-FFF2-40B4-BE49-F238E27FC236}">
                <a16:creationId xmlns:a16="http://schemas.microsoft.com/office/drawing/2014/main" id="{1E79E0B2-3AE4-4BA1-9F83-6213DB5DF3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2230" y="6743700"/>
            <a:ext cx="12038238" cy="277813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9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Citation</a:t>
            </a:r>
            <a:r>
              <a:rPr kumimoji="1" lang="ja-JP" altLang="en-US"/>
              <a:t> </a:t>
            </a:r>
            <a:r>
              <a:rPr kumimoji="1" lang="en-US" altLang="ja-JP"/>
              <a:t>(9pt)</a:t>
            </a:r>
            <a:endParaRPr kumimoji="1" lang="ja-JP" altLang="en-US"/>
          </a:p>
        </p:txBody>
      </p:sp>
      <p:sp>
        <p:nvSpPr>
          <p:cNvPr id="9" name="テキスト プレースホルダー 9">
            <a:extLst>
              <a:ext uri="{FF2B5EF4-FFF2-40B4-BE49-F238E27FC236}">
                <a16:creationId xmlns:a16="http://schemas.microsoft.com/office/drawing/2014/main" id="{898E907A-398F-4219-A3B8-DC474CC7BA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8" name="タイトル 10">
            <a:extLst>
              <a:ext uri="{FF2B5EF4-FFF2-40B4-BE49-F238E27FC236}">
                <a16:creationId xmlns:a16="http://schemas.microsoft.com/office/drawing/2014/main" id="{DD84354A-E32B-4FEB-BC63-579A4C5C4B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729455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7AFB739-4EFB-4021-B261-1BEC68EA7C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41538" y="2828545"/>
            <a:ext cx="7898931" cy="1860859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</p:spTree>
    <p:extLst>
      <p:ext uri="{BB962C8B-B14F-4D97-AF65-F5344CB8AC3E}">
        <p14:creationId xmlns:p14="http://schemas.microsoft.com/office/powerpoint/2010/main" val="9754725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/Body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プレースホルダー 2">
            <a:extLst>
              <a:ext uri="{FF2B5EF4-FFF2-40B4-BE49-F238E27FC236}">
                <a16:creationId xmlns:a16="http://schemas.microsoft.com/office/drawing/2014/main" id="{7DBBE447-5499-48D1-B24B-E21AB9B755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2231" y="1584320"/>
            <a:ext cx="5815464" cy="5436945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53975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900000" marR="0" indent="-180000" algn="just" defTabSz="903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3pPr>
            <a:lvl4pPr marL="1260000" marR="0" indent="-180000" algn="just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1077913" algn="l"/>
              </a:tabLst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4pPr>
            <a:lvl5pPr marL="1970088" indent="-176213" fontAlgn="auto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 spc="20" baseline="0">
                <a:solidFill>
                  <a:schemeClr val="tx2"/>
                </a:solidFill>
              </a:defRPr>
            </a:lvl5pPr>
            <a:lvl7pPr marL="3129168" indent="0">
              <a:buNone/>
              <a:defRPr/>
            </a:lvl7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10" name="テキスト プレースホルダー 2">
            <a:extLst>
              <a:ext uri="{FF2B5EF4-FFF2-40B4-BE49-F238E27FC236}">
                <a16:creationId xmlns:a16="http://schemas.microsoft.com/office/drawing/2014/main" id="{7C3C2B7E-C9F3-46EA-81B9-91BEAD7671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25004" y="1584325"/>
            <a:ext cx="5815464" cy="5437189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53975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900000" marR="0" indent="-180000" algn="just" defTabSz="903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3pPr>
            <a:lvl4pPr marL="1260000" marR="0" indent="-180000" algn="just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1077913" algn="l"/>
              </a:tabLst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4pPr>
            <a:lvl5pPr marL="1970088" indent="-176213" fontAlgn="auto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 spc="20" baseline="0">
                <a:solidFill>
                  <a:schemeClr val="tx2"/>
                </a:solidFill>
              </a:defRPr>
            </a:lvl5pPr>
            <a:lvl7pPr marL="3129168" indent="0">
              <a:buNone/>
              <a:defRPr/>
            </a:lvl7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9" name="テキスト プレースホルダー 9">
            <a:extLst>
              <a:ext uri="{FF2B5EF4-FFF2-40B4-BE49-F238E27FC236}">
                <a16:creationId xmlns:a16="http://schemas.microsoft.com/office/drawing/2014/main" id="{3AB1A058-BC5A-487E-8047-89AC481A11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76419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11" name="タイトル 10">
            <a:extLst>
              <a:ext uri="{FF2B5EF4-FFF2-40B4-BE49-F238E27FC236}">
                <a16:creationId xmlns:a16="http://schemas.microsoft.com/office/drawing/2014/main" id="{6DE9DBF8-3270-4DFF-A140-D5678C6A9E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37800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/Key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プレースホルダー 9">
            <a:extLst>
              <a:ext uri="{FF2B5EF4-FFF2-40B4-BE49-F238E27FC236}">
                <a16:creationId xmlns:a16="http://schemas.microsoft.com/office/drawing/2014/main" id="{0015550C-7860-40A7-8B38-6F00CF7C25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78100"/>
            <a:ext cx="12084294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2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5" name="タイトル 10">
            <a:extLst>
              <a:ext uri="{FF2B5EF4-FFF2-40B4-BE49-F238E27FC236}">
                <a16:creationId xmlns:a16="http://schemas.microsoft.com/office/drawing/2014/main" id="{BD6B0E99-7334-4CFC-85F5-7454FF1C04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287" y="39210"/>
            <a:ext cx="12673237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kern="1200" spc="2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0pt)</a:t>
            </a:r>
            <a:endParaRPr kumimoji="1" lang="ja-JP" altLang="en-US"/>
          </a:p>
        </p:txBody>
      </p: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DD3A42D4-21D3-4830-904E-763862E9D067}"/>
              </a:ext>
            </a:extLst>
          </p:cNvPr>
          <p:cNvCxnSpPr/>
          <p:nvPr userDrawn="1"/>
        </p:nvCxnSpPr>
        <p:spPr bwMode="auto">
          <a:xfrm>
            <a:off x="0" y="1260000"/>
            <a:ext cx="13441190" cy="0"/>
          </a:xfrm>
          <a:prstGeom prst="line">
            <a:avLst/>
          </a:prstGeom>
          <a:noFill/>
          <a:ln w="19050" cap="flat" cmpd="sng" algn="ctr">
            <a:solidFill>
              <a:srgbClr val="082C6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1FDAF398-9125-47BE-A310-E2C6E56032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2482" y="324247"/>
            <a:ext cx="12084294" cy="17340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kumimoji="1" lang="en-US" altLang="ja-JP"/>
              <a:t>Title</a:t>
            </a:r>
            <a:r>
              <a:rPr kumimoji="1" lang="ja-JP" altLang="en-US"/>
              <a:t>（</a:t>
            </a:r>
            <a:r>
              <a:rPr kumimoji="1" lang="en-US" altLang="ja-JP"/>
              <a:t>12pt</a:t>
            </a:r>
            <a:r>
              <a:rPr kumimoji="1" lang="ja-JP" altLang="en-US"/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9550452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/Key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プレースホルダー 9">
            <a:extLst>
              <a:ext uri="{FF2B5EF4-FFF2-40B4-BE49-F238E27FC236}">
                <a16:creationId xmlns:a16="http://schemas.microsoft.com/office/drawing/2014/main" id="{0015550C-7860-40A7-8B38-6F00CF7C25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78100"/>
            <a:ext cx="12084294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2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1FDAF398-9125-47BE-A310-E2C6E56032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2482" y="324247"/>
            <a:ext cx="12084294" cy="17340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kumimoji="1" lang="en-US" altLang="ja-JP"/>
              <a:t>Title</a:t>
            </a:r>
            <a:r>
              <a:rPr kumimoji="1" lang="ja-JP" altLang="en-US"/>
              <a:t>（</a:t>
            </a:r>
            <a:r>
              <a:rPr kumimoji="1" lang="en-US" altLang="ja-JP"/>
              <a:t>12pt</a:t>
            </a:r>
            <a:r>
              <a:rPr kumimoji="1" lang="ja-JP" altLang="en-US"/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25558553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1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Freeform 6"/>
          <p:cNvSpPr>
            <a:spLocks/>
          </p:cNvSpPr>
          <p:nvPr/>
        </p:nvSpPr>
        <p:spPr bwMode="auto">
          <a:xfrm>
            <a:off x="702482" y="540631"/>
            <a:ext cx="6381171" cy="3348000"/>
          </a:xfrm>
          <a:custGeom>
            <a:avLst/>
            <a:gdLst>
              <a:gd name="T0" fmla="*/ 0 w 3128"/>
              <a:gd name="T1" fmla="*/ 552 h 2114"/>
              <a:gd name="T2" fmla="*/ 0 w 3128"/>
              <a:gd name="T3" fmla="*/ 2114 h 2114"/>
              <a:gd name="T4" fmla="*/ 3128 w 3128"/>
              <a:gd name="T5" fmla="*/ 2114 h 2114"/>
              <a:gd name="T6" fmla="*/ 3128 w 3128"/>
              <a:gd name="T7" fmla="*/ 0 h 2114"/>
              <a:gd name="T8" fmla="*/ 0 w 3128"/>
              <a:gd name="T9" fmla="*/ 552 h 2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28" h="2114">
                <a:moveTo>
                  <a:pt x="0" y="552"/>
                </a:moveTo>
                <a:lnTo>
                  <a:pt x="0" y="2114"/>
                </a:lnTo>
                <a:lnTo>
                  <a:pt x="3128" y="2114"/>
                </a:lnTo>
                <a:lnTo>
                  <a:pt x="3128" y="0"/>
                </a:lnTo>
                <a:lnTo>
                  <a:pt x="0" y="552"/>
                </a:lnTo>
                <a:close/>
              </a:path>
            </a:pathLst>
          </a:custGeom>
          <a:solidFill>
            <a:srgbClr val="082C6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/>
            <a:endParaRPr lang="en-GB" sz="900" spc="20" baseline="0">
              <a:solidFill>
                <a:schemeClr val="bg1"/>
              </a:solidFill>
              <a:latin typeface="+mj-lt"/>
              <a:ea typeface="+mj-ea"/>
            </a:endParaRPr>
          </a:p>
        </p:txBody>
      </p:sp>
      <p:sp>
        <p:nvSpPr>
          <p:cNvPr id="32" name="タイトル 14"/>
          <p:cNvSpPr>
            <a:spLocks noGrp="1"/>
          </p:cNvSpPr>
          <p:nvPr>
            <p:ph type="title" hasCustomPrompt="1"/>
          </p:nvPr>
        </p:nvSpPr>
        <p:spPr>
          <a:xfrm>
            <a:off x="996649" y="2002673"/>
            <a:ext cx="5724826" cy="846853"/>
          </a:xfrm>
          <a:prstGeom prst="rect">
            <a:avLst/>
          </a:prstGeom>
        </p:spPr>
        <p:txBody>
          <a:bodyPr lIns="0" tIns="0" rIns="0" bIns="0" anchor="t"/>
          <a:lstStyle>
            <a:lvl1pPr fontAlgn="auto">
              <a:lnSpc>
                <a:spcPct val="100000"/>
              </a:lnSpc>
              <a:spcBef>
                <a:spcPts val="0"/>
              </a:spcBef>
              <a:defRPr sz="2200" b="1" kern="1200" spc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r>
              <a:rPr lang="ja-JP" altLang="en-US"/>
              <a:t>タイトル</a:t>
            </a:r>
          </a:p>
        </p:txBody>
      </p:sp>
      <p:sp>
        <p:nvSpPr>
          <p:cNvPr id="33" name="テキスト プレースホルダ 16"/>
          <p:cNvSpPr>
            <a:spLocks noGrp="1"/>
          </p:cNvSpPr>
          <p:nvPr>
            <p:ph type="body" sz="quarter" idx="10" hasCustomPrompt="1"/>
          </p:nvPr>
        </p:nvSpPr>
        <p:spPr>
          <a:xfrm>
            <a:off x="996649" y="1591556"/>
            <a:ext cx="5724826" cy="23939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500" b="0" spc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altLang="ja-JP"/>
              <a:t>XXXXXXX </a:t>
            </a:r>
            <a:r>
              <a:rPr lang="ja-JP" altLang="en-US"/>
              <a:t>御中</a:t>
            </a:r>
          </a:p>
        </p:txBody>
      </p:sp>
      <p:sp>
        <p:nvSpPr>
          <p:cNvPr id="34" name="テキスト プレースホルダ 16"/>
          <p:cNvSpPr>
            <a:spLocks noGrp="1"/>
          </p:cNvSpPr>
          <p:nvPr>
            <p:ph type="body" sz="quarter" idx="11" hasCustomPrompt="1"/>
          </p:nvPr>
        </p:nvSpPr>
        <p:spPr>
          <a:xfrm>
            <a:off x="996649" y="3307644"/>
            <a:ext cx="5721889" cy="243662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altLang="ja-JP"/>
              <a:t>XX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25" name="テキスト プレースホルダ 16"/>
          <p:cNvSpPr>
            <a:spLocks noGrp="1"/>
          </p:cNvSpPr>
          <p:nvPr>
            <p:ph type="body" sz="quarter" idx="12" hasCustomPrompt="1"/>
          </p:nvPr>
        </p:nvSpPr>
        <p:spPr>
          <a:xfrm>
            <a:off x="999586" y="3021246"/>
            <a:ext cx="5721889" cy="229955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350" spc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altLang="ja-JP"/>
              <a:t>XXXXXXX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9291727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324B42D-AE01-47C1-9F6C-0919F512BD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539749"/>
            <a:ext cx="12037986" cy="1044576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4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はじめにタイトル</a:t>
            </a:r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108159303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4B74ED8-7086-4A54-B270-B1BD6A904AF4}"/>
              </a:ext>
            </a:extLst>
          </p:cNvPr>
          <p:cNvSpPr txBox="1">
            <a:spLocks/>
          </p:cNvSpPr>
          <p:nvPr userDrawn="1"/>
        </p:nvSpPr>
        <p:spPr>
          <a:xfrm>
            <a:off x="0" y="1"/>
            <a:ext cx="181026" cy="75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 baseline="0">
              <a:solidFill>
                <a:schemeClr val="tx2"/>
              </a:solidFill>
              <a:latin typeface="+mj-lt"/>
              <a:ea typeface="+mj-ea"/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5D5B1ABD-1229-40A2-8117-7525D9DCAC29}"/>
              </a:ext>
            </a:extLst>
          </p:cNvPr>
          <p:cNvSpPr txBox="1">
            <a:spLocks/>
          </p:cNvSpPr>
          <p:nvPr userDrawn="1"/>
        </p:nvSpPr>
        <p:spPr>
          <a:xfrm>
            <a:off x="0" y="541874"/>
            <a:ext cx="181026" cy="1044000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 baseline="0">
              <a:solidFill>
                <a:schemeClr val="tx2"/>
              </a:solidFill>
              <a:latin typeface="+mj-lt"/>
              <a:ea typeface="+mj-ea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45A37E82-27E6-4D72-9413-BAFF9304C2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541874"/>
            <a:ext cx="12037986" cy="10440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4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目次タイトル</a:t>
            </a:r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4995852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DE62A711-1482-4192-9F96-3DE6344705C9}"/>
              </a:ext>
            </a:extLst>
          </p:cNvPr>
          <p:cNvSpPr txBox="1">
            <a:spLocks/>
          </p:cNvSpPr>
          <p:nvPr userDrawn="1"/>
        </p:nvSpPr>
        <p:spPr>
          <a:xfrm>
            <a:off x="-261" y="541347"/>
            <a:ext cx="702742" cy="104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 baseline="0">
              <a:solidFill>
                <a:schemeClr val="tx2"/>
              </a:solidFill>
              <a:latin typeface="+mj-lt"/>
              <a:ea typeface="+mj-ea"/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D5056EDA-54AC-47D2-BDF3-8AB32D0034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6157" y="542977"/>
            <a:ext cx="11658570" cy="1041348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4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目次タイトル</a:t>
            </a:r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39879042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7AFB739-4EFB-4021-B261-1BEC68EA7C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41538" y="2828545"/>
            <a:ext cx="7898931" cy="1860859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</p:spTree>
    <p:extLst>
      <p:ext uri="{BB962C8B-B14F-4D97-AF65-F5344CB8AC3E}">
        <p14:creationId xmlns:p14="http://schemas.microsoft.com/office/powerpoint/2010/main" val="163152460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>
            <a:extLst>
              <a:ext uri="{FF2B5EF4-FFF2-40B4-BE49-F238E27FC236}">
                <a16:creationId xmlns:a16="http://schemas.microsoft.com/office/drawing/2014/main" id="{EB964AD3-5C01-4342-859A-2B289C169223}"/>
              </a:ext>
            </a:extLst>
          </p:cNvPr>
          <p:cNvSpPr>
            <a:spLocks/>
          </p:cNvSpPr>
          <p:nvPr/>
        </p:nvSpPr>
        <p:spPr bwMode="gray">
          <a:xfrm>
            <a:off x="0" y="1"/>
            <a:ext cx="7344494" cy="517398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19 h 10000"/>
              <a:gd name="connsiteX3" fmla="*/ 0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10000" y="8019"/>
                </a:lnTo>
                <a:lnTo>
                  <a:pt x="0" y="10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GB" sz="992" baseline="0">
              <a:solidFill>
                <a:schemeClr val="tx2"/>
              </a:solidFill>
              <a:latin typeface="+mj-lt"/>
              <a:ea typeface="+mj-ea"/>
            </a:endParaRPr>
          </a:p>
        </p:txBody>
      </p:sp>
      <p:sp>
        <p:nvSpPr>
          <p:cNvPr id="5" name="タイトル 4">
            <a:extLst>
              <a:ext uri="{FF2B5EF4-FFF2-40B4-BE49-F238E27FC236}">
                <a16:creationId xmlns:a16="http://schemas.microsoft.com/office/drawing/2014/main" id="{11F351C6-F573-4213-828B-01A88AFD0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1172425"/>
            <a:ext cx="6044082" cy="2343661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</p:spTree>
    <p:extLst>
      <p:ext uri="{BB962C8B-B14F-4D97-AF65-F5344CB8AC3E}">
        <p14:creationId xmlns:p14="http://schemas.microsoft.com/office/powerpoint/2010/main" val="362139461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CC60F6E-79E1-42FD-816F-62E1118C4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156909"/>
            <a:ext cx="12037986" cy="1260000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3562A8C4-BFAC-45C1-97C1-1F49DF283F96}"/>
              </a:ext>
            </a:extLst>
          </p:cNvPr>
          <p:cNvSpPr txBox="1">
            <a:spLocks/>
          </p:cNvSpPr>
          <p:nvPr userDrawn="1"/>
        </p:nvSpPr>
        <p:spPr>
          <a:xfrm>
            <a:off x="0" y="1"/>
            <a:ext cx="181026" cy="75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 baseline="0">
              <a:solidFill>
                <a:schemeClr val="tx2"/>
              </a:solidFill>
              <a:latin typeface="+mj-lt"/>
              <a:ea typeface="+mj-ea"/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040CF0E0-7A6D-42BA-8CF9-9662BA9C1D75}"/>
              </a:ext>
            </a:extLst>
          </p:cNvPr>
          <p:cNvSpPr txBox="1">
            <a:spLocks/>
          </p:cNvSpPr>
          <p:nvPr userDrawn="1"/>
        </p:nvSpPr>
        <p:spPr>
          <a:xfrm>
            <a:off x="-260" y="3150867"/>
            <a:ext cx="181026" cy="1260000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 baseline="0">
              <a:solidFill>
                <a:schemeClr val="tx2"/>
              </a:solidFill>
              <a:latin typeface="+mj-lt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124836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>
            <a:extLst>
              <a:ext uri="{FF2B5EF4-FFF2-40B4-BE49-F238E27FC236}">
                <a16:creationId xmlns:a16="http://schemas.microsoft.com/office/drawing/2014/main" id="{EB964AD3-5C01-4342-859A-2B289C169223}"/>
              </a:ext>
            </a:extLst>
          </p:cNvPr>
          <p:cNvSpPr>
            <a:spLocks/>
          </p:cNvSpPr>
          <p:nvPr/>
        </p:nvSpPr>
        <p:spPr bwMode="gray">
          <a:xfrm>
            <a:off x="0" y="1"/>
            <a:ext cx="7344494" cy="517398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19 h 10000"/>
              <a:gd name="connsiteX3" fmla="*/ 0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10000" y="8019"/>
                </a:lnTo>
                <a:lnTo>
                  <a:pt x="0" y="10000"/>
                </a:lnTo>
                <a:lnTo>
                  <a:pt x="0" y="0"/>
                </a:lnTo>
                <a:close/>
              </a:path>
            </a:pathLst>
          </a:custGeom>
          <a:solidFill>
            <a:srgbClr val="FFB46A">
              <a:alpha val="90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GB" sz="992">
              <a:solidFill>
                <a:schemeClr val="bg1"/>
              </a:solidFill>
            </a:endParaRPr>
          </a:p>
        </p:txBody>
      </p:sp>
      <p:sp>
        <p:nvSpPr>
          <p:cNvPr id="5" name="タイトル 4">
            <a:extLst>
              <a:ext uri="{FF2B5EF4-FFF2-40B4-BE49-F238E27FC236}">
                <a16:creationId xmlns:a16="http://schemas.microsoft.com/office/drawing/2014/main" id="{11F351C6-F573-4213-828B-01A88AFD0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1172425"/>
            <a:ext cx="6044082" cy="2343661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0" spc="0" baseline="0">
                <a:solidFill>
                  <a:sysClr val="windowText" lastClr="000000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章タイトル</a:t>
            </a:r>
          </a:p>
        </p:txBody>
      </p:sp>
    </p:spTree>
    <p:extLst>
      <p:ext uri="{BB962C8B-B14F-4D97-AF65-F5344CB8AC3E}">
        <p14:creationId xmlns:p14="http://schemas.microsoft.com/office/powerpoint/2010/main" val="38032285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1">
            <a:extLst>
              <a:ext uri="{FF2B5EF4-FFF2-40B4-BE49-F238E27FC236}">
                <a16:creationId xmlns:a16="http://schemas.microsoft.com/office/drawing/2014/main" id="{174B109A-EDC3-45F0-8BBD-677FCDC83B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4778" y="3150868"/>
            <a:ext cx="11645690" cy="1259999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A0B98F9-28DF-45AF-9554-283B5B36EDE4}"/>
              </a:ext>
            </a:extLst>
          </p:cNvPr>
          <p:cNvSpPr txBox="1">
            <a:spLocks/>
          </p:cNvSpPr>
          <p:nvPr userDrawn="1"/>
        </p:nvSpPr>
        <p:spPr>
          <a:xfrm>
            <a:off x="-261" y="3150867"/>
            <a:ext cx="702742" cy="126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 baseline="0">
              <a:solidFill>
                <a:schemeClr val="tx2"/>
              </a:solidFill>
              <a:latin typeface="+mj-lt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042796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53B741FA-6E97-4188-9002-936FC6D932E4}"/>
              </a:ext>
            </a:extLst>
          </p:cNvPr>
          <p:cNvSpPr/>
          <p:nvPr userDrawn="1"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chemeClr val="accent3">
              <a:alpha val="89804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/>
            <a:endParaRPr kumimoji="1" lang="ja-JP" altLang="en-US" sz="1200" spc="2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8564909A-C113-45A2-B9D3-071BEDD2ED15}"/>
              </a:ext>
            </a:extLst>
          </p:cNvPr>
          <p:cNvSpPr/>
          <p:nvPr userDrawn="1"/>
        </p:nvSpPr>
        <p:spPr>
          <a:xfrm>
            <a:off x="11143918" y="0"/>
            <a:ext cx="2299032" cy="472440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背景に写真を挿入することを前提にしている</a:t>
            </a:r>
          </a:p>
        </p:txBody>
      </p:sp>
      <p:sp>
        <p:nvSpPr>
          <p:cNvPr id="7" name="タイトル 4">
            <a:extLst>
              <a:ext uri="{FF2B5EF4-FFF2-40B4-BE49-F238E27FC236}">
                <a16:creationId xmlns:a16="http://schemas.microsoft.com/office/drawing/2014/main" id="{E2D499C8-05EF-44B4-9799-87A11E4F6A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5761158"/>
            <a:ext cx="13442949" cy="1260000"/>
          </a:xfrm>
          <a:prstGeom prst="rect">
            <a:avLst/>
          </a:prstGeom>
          <a:solidFill>
            <a:srgbClr val="2E2E38">
              <a:alpha val="80000"/>
            </a:srgbClr>
          </a:solidFill>
          <a:ln>
            <a:noFill/>
          </a:ln>
        </p:spPr>
        <p:txBody>
          <a:bodyPr lIns="900000" tIns="0" rIns="0" bIns="0" anchor="ctr"/>
          <a:lstStyle>
            <a:lvl1pPr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E1718A2-1858-4C26-AE4C-A42CBF6E4268}"/>
              </a:ext>
            </a:extLst>
          </p:cNvPr>
          <p:cNvSpPr txBox="1">
            <a:spLocks/>
          </p:cNvSpPr>
          <p:nvPr userDrawn="1"/>
        </p:nvSpPr>
        <p:spPr>
          <a:xfrm>
            <a:off x="-916766" y="5761158"/>
            <a:ext cx="702742" cy="126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 baseline="0">
              <a:solidFill>
                <a:schemeClr val="tx2"/>
              </a:solidFill>
              <a:latin typeface="+mj-lt"/>
              <a:ea typeface="+mj-ea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D8BD0885-BB47-4A5E-B67E-D549DC6855D1}"/>
              </a:ext>
            </a:extLst>
          </p:cNvPr>
          <p:cNvSpPr/>
          <p:nvPr userDrawn="1"/>
        </p:nvSpPr>
        <p:spPr>
          <a:xfrm>
            <a:off x="-1988352" y="4806779"/>
            <a:ext cx="1696657" cy="822548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実際のスライドの上に、以下の黄色ボックスを乗せる</a:t>
            </a:r>
          </a:p>
        </p:txBody>
      </p:sp>
    </p:spTree>
    <p:extLst>
      <p:ext uri="{BB962C8B-B14F-4D97-AF65-F5344CB8AC3E}">
        <p14:creationId xmlns:p14="http://schemas.microsoft.com/office/powerpoint/2010/main" val="188008231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A26BA5A-2D2B-4FEF-82ED-F588A7B5520F}"/>
              </a:ext>
            </a:extLst>
          </p:cNvPr>
          <p:cNvSpPr/>
          <p:nvPr userDrawn="1"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chemeClr val="accent3">
              <a:alpha val="89804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/>
            <a:endParaRPr kumimoji="1" lang="ja-JP" altLang="en-US" sz="1200" spc="2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7A66ACEB-E63A-4C19-8A83-FD7E852942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764978"/>
            <a:ext cx="13442950" cy="125999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lIns="90000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2742A7FA-F632-446F-ACE9-69415B5EA6BF}"/>
              </a:ext>
            </a:extLst>
          </p:cNvPr>
          <p:cNvSpPr/>
          <p:nvPr userDrawn="1"/>
        </p:nvSpPr>
        <p:spPr>
          <a:xfrm>
            <a:off x="11143918" y="0"/>
            <a:ext cx="2299032" cy="472440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背景に写真を挿入することを前提にしている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A4EF6AD-6385-43A1-9598-36F7215016C3}"/>
              </a:ext>
            </a:extLst>
          </p:cNvPr>
          <p:cNvSpPr txBox="1">
            <a:spLocks/>
          </p:cNvSpPr>
          <p:nvPr userDrawn="1"/>
        </p:nvSpPr>
        <p:spPr>
          <a:xfrm>
            <a:off x="-994437" y="5764976"/>
            <a:ext cx="702742" cy="126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C3414484-D12A-4736-B8CD-91CE53FE505F}"/>
              </a:ext>
            </a:extLst>
          </p:cNvPr>
          <p:cNvSpPr/>
          <p:nvPr userDrawn="1"/>
        </p:nvSpPr>
        <p:spPr>
          <a:xfrm>
            <a:off x="-1988352" y="4806779"/>
            <a:ext cx="1696657" cy="822548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実際のスライドの上に、以下の黄色ボックスを乗せる</a:t>
            </a:r>
          </a:p>
        </p:txBody>
      </p:sp>
    </p:spTree>
    <p:extLst>
      <p:ext uri="{BB962C8B-B14F-4D97-AF65-F5344CB8AC3E}">
        <p14:creationId xmlns:p14="http://schemas.microsoft.com/office/powerpoint/2010/main" val="2590479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C779E1E-E64A-4D07-8775-F5850E621024}"/>
              </a:ext>
            </a:extLst>
          </p:cNvPr>
          <p:cNvSpPr txBox="1">
            <a:spLocks/>
          </p:cNvSpPr>
          <p:nvPr userDrawn="1"/>
        </p:nvSpPr>
        <p:spPr>
          <a:xfrm>
            <a:off x="0" y="1"/>
            <a:ext cx="181026" cy="75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 baseline="0">
              <a:solidFill>
                <a:schemeClr val="tx2"/>
              </a:solidFill>
              <a:latin typeface="+mj-lt"/>
              <a:ea typeface="+mj-ea"/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C8E07BA0-F8A4-48A5-9061-34B24BDE88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1591696"/>
            <a:ext cx="11645690" cy="1044000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問合せ先タイトル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8A8F518-7535-43B6-BB08-B7E16B936A8C}"/>
              </a:ext>
            </a:extLst>
          </p:cNvPr>
          <p:cNvSpPr txBox="1">
            <a:spLocks/>
          </p:cNvSpPr>
          <p:nvPr userDrawn="1"/>
        </p:nvSpPr>
        <p:spPr>
          <a:xfrm>
            <a:off x="-260" y="1580248"/>
            <a:ext cx="181026" cy="104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 baseline="0">
              <a:solidFill>
                <a:schemeClr val="tx2"/>
              </a:solidFill>
              <a:latin typeface="+mj-lt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09448916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EC307041-69BD-4E0C-A6B6-19E01885799F}"/>
              </a:ext>
            </a:extLst>
          </p:cNvPr>
          <p:cNvSpPr txBox="1">
            <a:spLocks/>
          </p:cNvSpPr>
          <p:nvPr userDrawn="1"/>
        </p:nvSpPr>
        <p:spPr>
          <a:xfrm>
            <a:off x="-260" y="1592042"/>
            <a:ext cx="702742" cy="104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 baseline="0">
              <a:solidFill>
                <a:schemeClr val="tx2"/>
              </a:solidFill>
              <a:latin typeface="+mj-lt"/>
              <a:ea typeface="+mj-ea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F6CB3E25-F953-4928-8ECF-566A86E21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06940" y="1591696"/>
            <a:ext cx="11633528" cy="1044000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問合せ先タイトル</a:t>
            </a:r>
          </a:p>
        </p:txBody>
      </p:sp>
    </p:spTree>
    <p:extLst>
      <p:ext uri="{BB962C8B-B14F-4D97-AF65-F5344CB8AC3E}">
        <p14:creationId xmlns:p14="http://schemas.microsoft.com/office/powerpoint/2010/main" val="96762162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BC571029-58F9-4132-9CA6-F4FEB85DBCBD}"/>
              </a:ext>
            </a:extLst>
          </p:cNvPr>
          <p:cNvSpPr/>
          <p:nvPr userDrawn="1"/>
        </p:nvSpPr>
        <p:spPr>
          <a:xfrm>
            <a:off x="11143918" y="-533400"/>
            <a:ext cx="2299032" cy="472440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背景に写真を挿入</a:t>
            </a:r>
            <a:endParaRPr lang="en-US" altLang="ja-JP" sz="1200">
              <a:solidFill>
                <a:schemeClr val="bg1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することを前提にしている</a:t>
            </a: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72C2B6F4-CAB6-41A3-A296-9325AFFC0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6261431"/>
            <a:ext cx="2556734" cy="348338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2000" b="1" spc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問合せ先タイトル</a:t>
            </a:r>
          </a:p>
        </p:txBody>
      </p:sp>
    </p:spTree>
    <p:extLst>
      <p:ext uri="{BB962C8B-B14F-4D97-AF65-F5344CB8AC3E}">
        <p14:creationId xmlns:p14="http://schemas.microsoft.com/office/powerpoint/2010/main" val="389748472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10">
            <a:extLst>
              <a:ext uri="{FF2B5EF4-FFF2-40B4-BE49-F238E27FC236}">
                <a16:creationId xmlns:a16="http://schemas.microsoft.com/office/drawing/2014/main" id="{958C2D59-3DBD-4546-B127-0587E32BFD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  <p:sp>
        <p:nvSpPr>
          <p:cNvPr id="4" name="テキスト プレースホルダー 9">
            <a:extLst>
              <a:ext uri="{FF2B5EF4-FFF2-40B4-BE49-F238E27FC236}">
                <a16:creationId xmlns:a16="http://schemas.microsoft.com/office/drawing/2014/main" id="{448BB802-219C-4D0C-B6C4-FA6D1E8BB5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1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</p:spTree>
    <p:extLst>
      <p:ext uri="{BB962C8B-B14F-4D97-AF65-F5344CB8AC3E}">
        <p14:creationId xmlns:p14="http://schemas.microsoft.com/office/powerpoint/2010/main" val="34115761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/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テキスト プレースホルダー 2">
            <a:extLst>
              <a:ext uri="{FF2B5EF4-FFF2-40B4-BE49-F238E27FC236}">
                <a16:creationId xmlns:a16="http://schemas.microsoft.com/office/drawing/2014/main" id="{D0EE814B-D29B-4779-9167-F3A5FE36EF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2230" y="1584326"/>
            <a:ext cx="12038238" cy="5436939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+mn-lt"/>
                <a:ea typeface="+mn-ea"/>
              </a:defRPr>
            </a:lvl1pPr>
            <a:lvl2pPr marL="53975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+mn-lt"/>
                <a:ea typeface="+mn-ea"/>
              </a:defRPr>
            </a:lvl2pPr>
            <a:lvl3pPr marL="900000" marR="0" indent="-180000" algn="just" defTabSz="903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spc="0" baseline="0">
                <a:solidFill>
                  <a:schemeClr val="tx2"/>
                </a:solidFill>
              </a:defRPr>
            </a:lvl3pPr>
            <a:lvl4pPr marL="1260000" marR="0" indent="-180000" algn="just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1077913" algn="l"/>
              </a:tabLst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4pPr>
            <a:lvl5pPr marL="1970088" indent="-176213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/>
            </a:lvl5pPr>
            <a:lvl7pPr marL="3129168" indent="0">
              <a:buNone/>
              <a:defRPr/>
            </a:lvl7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7" name="テキスト プレースホルダー 9">
            <a:extLst>
              <a:ext uri="{FF2B5EF4-FFF2-40B4-BE49-F238E27FC236}">
                <a16:creationId xmlns:a16="http://schemas.microsoft.com/office/drawing/2014/main" id="{1FB5442B-D0A8-42BF-9947-EDDB4B207A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9" name="タイトル 10">
            <a:extLst>
              <a:ext uri="{FF2B5EF4-FFF2-40B4-BE49-F238E27FC236}">
                <a16:creationId xmlns:a16="http://schemas.microsoft.com/office/drawing/2014/main" id="{039D7730-C383-44E3-B20D-571DF1CE9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585711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KeyMessage/Body/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プレースホルダー 9">
            <a:extLst>
              <a:ext uri="{FF2B5EF4-FFF2-40B4-BE49-F238E27FC236}">
                <a16:creationId xmlns:a16="http://schemas.microsoft.com/office/drawing/2014/main" id="{1FB5442B-D0A8-42BF-9947-EDDB4B207A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9" name="タイトル 10">
            <a:extLst>
              <a:ext uri="{FF2B5EF4-FFF2-40B4-BE49-F238E27FC236}">
                <a16:creationId xmlns:a16="http://schemas.microsoft.com/office/drawing/2014/main" id="{039D7730-C383-44E3-B20D-571DF1CE9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  <p:sp>
        <p:nvSpPr>
          <p:cNvPr id="17" name="テキスト プレースホルダー 16">
            <a:extLst>
              <a:ext uri="{FF2B5EF4-FFF2-40B4-BE49-F238E27FC236}">
                <a16:creationId xmlns:a16="http://schemas.microsoft.com/office/drawing/2014/main" id="{0645EE0F-DCA4-4F69-A2E1-FF86A740B5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2482" y="1584325"/>
            <a:ext cx="12037986" cy="5112000"/>
          </a:xfrm>
          <a:prstGeom prst="rect">
            <a:avLst/>
          </a:prstGeom>
        </p:spPr>
        <p:txBody>
          <a:bodyPr lIns="0" tIns="0" rIns="0" bIns="0"/>
          <a:lstStyle>
            <a:lvl1pPr marL="182563" indent="-1825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b="0" spc="0" baseline="0">
                <a:latin typeface="+mn-lt"/>
                <a:ea typeface="+mn-ea"/>
              </a:defRPr>
            </a:lvl1pPr>
            <a:lvl2pPr marL="538163" marR="0" indent="-182563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b="0" spc="0" baseline="0">
                <a:latin typeface="+mn-lt"/>
                <a:ea typeface="+mn-ea"/>
              </a:defRPr>
            </a:lvl2pPr>
            <a:lvl3pPr marL="892175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b="0" spc="0" baseline="0"/>
            </a:lvl3pPr>
            <a:lvl4pPr marL="1258888" indent="-1825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b="0" spc="0" baseline="0"/>
            </a:lvl4pPr>
            <a:lvl5pPr marL="2039030" indent="-403823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 b="0" baseline="0"/>
            </a:lvl5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19" name="テキスト プレースホルダー 18">
            <a:extLst>
              <a:ext uri="{FF2B5EF4-FFF2-40B4-BE49-F238E27FC236}">
                <a16:creationId xmlns:a16="http://schemas.microsoft.com/office/drawing/2014/main" id="{19BA2BD0-9B5F-4140-A079-58A3C3DA6D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2482" y="6723063"/>
            <a:ext cx="12037986" cy="28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Clr>
                <a:schemeClr val="accent1"/>
              </a:buClr>
              <a:buSzPct val="100000"/>
              <a:buFontTx/>
              <a:buNone/>
              <a:defRPr sz="900" spc="0" baseline="0">
                <a:latin typeface="+mn-lt"/>
                <a:ea typeface="+mn-ea"/>
              </a:defRPr>
            </a:lvl1pPr>
          </a:lstStyle>
          <a:p>
            <a:pPr lvl="0"/>
            <a:r>
              <a:rPr kumimoji="1" lang="en-US" altLang="ja-JP"/>
              <a:t>Citation (9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55153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/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プレースホルダー 9">
            <a:extLst>
              <a:ext uri="{FF2B5EF4-FFF2-40B4-BE49-F238E27FC236}">
                <a16:creationId xmlns:a16="http://schemas.microsoft.com/office/drawing/2014/main" id="{1E79E0B2-3AE4-4BA1-9F83-6213DB5DF3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2230" y="6724800"/>
            <a:ext cx="12038238" cy="28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900" b="0" spc="0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kumimoji="1" lang="en-US" altLang="ja-JP"/>
              <a:t>Citation</a:t>
            </a:r>
            <a:r>
              <a:rPr kumimoji="1" lang="ja-JP" altLang="en-US"/>
              <a:t> </a:t>
            </a:r>
            <a:r>
              <a:rPr kumimoji="1" lang="en-US" altLang="ja-JP"/>
              <a:t>(9pt)</a:t>
            </a:r>
            <a:endParaRPr kumimoji="1" lang="ja-JP" altLang="en-US"/>
          </a:p>
        </p:txBody>
      </p:sp>
      <p:sp>
        <p:nvSpPr>
          <p:cNvPr id="9" name="テキスト プレースホルダー 9">
            <a:extLst>
              <a:ext uri="{FF2B5EF4-FFF2-40B4-BE49-F238E27FC236}">
                <a16:creationId xmlns:a16="http://schemas.microsoft.com/office/drawing/2014/main" id="{898E907A-398F-4219-A3B8-DC474CC7BA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8" name="タイトル 10">
            <a:extLst>
              <a:ext uri="{FF2B5EF4-FFF2-40B4-BE49-F238E27FC236}">
                <a16:creationId xmlns:a16="http://schemas.microsoft.com/office/drawing/2014/main" id="{DD84354A-E32B-4FEB-BC63-579A4C5C4B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36289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CC60F6E-79E1-42FD-816F-62E1118C4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156909"/>
            <a:ext cx="12037986" cy="1260000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3562A8C4-BFAC-45C1-97C1-1F49DF283F96}"/>
              </a:ext>
            </a:extLst>
          </p:cNvPr>
          <p:cNvSpPr txBox="1">
            <a:spLocks/>
          </p:cNvSpPr>
          <p:nvPr userDrawn="1"/>
        </p:nvSpPr>
        <p:spPr>
          <a:xfrm>
            <a:off x="0" y="1"/>
            <a:ext cx="181026" cy="75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040CF0E0-7A6D-42BA-8CF9-9662BA9C1D75}"/>
              </a:ext>
            </a:extLst>
          </p:cNvPr>
          <p:cNvSpPr txBox="1">
            <a:spLocks/>
          </p:cNvSpPr>
          <p:nvPr userDrawn="1"/>
        </p:nvSpPr>
        <p:spPr>
          <a:xfrm>
            <a:off x="-260" y="3150867"/>
            <a:ext cx="181026" cy="1260000"/>
          </a:xfrm>
          <a:prstGeom prst="rect">
            <a:avLst/>
          </a:prstGeom>
          <a:solidFill>
            <a:srgbClr val="FF9831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443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2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/Body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プレースホルダー 2">
            <a:extLst>
              <a:ext uri="{FF2B5EF4-FFF2-40B4-BE49-F238E27FC236}">
                <a16:creationId xmlns:a16="http://schemas.microsoft.com/office/drawing/2014/main" id="{7DBBE447-5499-48D1-B24B-E21AB9B755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2231" y="1584320"/>
            <a:ext cx="5815464" cy="5436945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+mn-lt"/>
                <a:ea typeface="+mn-ea"/>
              </a:defRPr>
            </a:lvl1pPr>
            <a:lvl2pPr marL="53975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+mn-lt"/>
                <a:ea typeface="+mn-ea"/>
              </a:defRPr>
            </a:lvl2pPr>
            <a:lvl3pPr marL="900000" marR="0" indent="-180000" algn="just" defTabSz="903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3pPr>
            <a:lvl4pPr marL="1260000" marR="0" indent="-180000" algn="just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1077913" algn="l"/>
              </a:tabLst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4pPr>
            <a:lvl5pPr marL="1970088" indent="-176213" fontAlgn="auto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 spc="20" baseline="0">
                <a:solidFill>
                  <a:schemeClr val="tx2"/>
                </a:solidFill>
              </a:defRPr>
            </a:lvl5pPr>
            <a:lvl7pPr marL="3129168" indent="0">
              <a:buNone/>
              <a:defRPr/>
            </a:lvl7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10" name="テキスト プレースホルダー 2">
            <a:extLst>
              <a:ext uri="{FF2B5EF4-FFF2-40B4-BE49-F238E27FC236}">
                <a16:creationId xmlns:a16="http://schemas.microsoft.com/office/drawing/2014/main" id="{7C3C2B7E-C9F3-46EA-81B9-91BEAD7671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25004" y="1584325"/>
            <a:ext cx="5815464" cy="5437189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53975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900000" marR="0" indent="-180000" algn="just" defTabSz="903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3pPr>
            <a:lvl4pPr marL="1260000" marR="0" indent="-180000" algn="just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1077913" algn="l"/>
              </a:tabLst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4pPr>
            <a:lvl5pPr marL="1970088" indent="-176213" fontAlgn="auto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 spc="20" baseline="0">
                <a:solidFill>
                  <a:schemeClr val="tx2"/>
                </a:solidFill>
              </a:defRPr>
            </a:lvl5pPr>
            <a:lvl7pPr marL="3129168" indent="0">
              <a:buNone/>
              <a:defRPr/>
            </a:lvl7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9" name="テキスト プレースホルダー 9">
            <a:extLst>
              <a:ext uri="{FF2B5EF4-FFF2-40B4-BE49-F238E27FC236}">
                <a16:creationId xmlns:a16="http://schemas.microsoft.com/office/drawing/2014/main" id="{3AB1A058-BC5A-487E-8047-89AC481A11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76419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11" name="タイトル 10">
            <a:extLst>
              <a:ext uri="{FF2B5EF4-FFF2-40B4-BE49-F238E27FC236}">
                <a16:creationId xmlns:a16="http://schemas.microsoft.com/office/drawing/2014/main" id="{6DE9DBF8-3270-4DFF-A140-D5678C6A9E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748008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oleObject" Target="../embeddings/oleObject3.bin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theme" Target="../theme/theme4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75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82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C3CC8528-0F47-406C-A7DA-47D0A6239F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288735134"/>
              </p:ext>
            </p:extLst>
          </p:nvPr>
        </p:nvGraphicFramePr>
        <p:xfrm>
          <a:off x="1996" y="1588"/>
          <a:ext cx="199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5" imgW="592" imgH="591" progId="TCLayout.ActiveDocument.1">
                  <p:embed/>
                </p:oleObj>
              </mc:Choice>
              <mc:Fallback>
                <p:oleObj name="think-cell スライド" r:id="rId25" imgW="592" imgH="591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C3CC8528-0F47-406C-A7DA-47D0A6239F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996" y="1588"/>
                        <a:ext cx="199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テキスト ボックス 7"/>
          <p:cNvSpPr txBox="1"/>
          <p:nvPr/>
        </p:nvSpPr>
        <p:spPr bwMode="auto">
          <a:xfrm>
            <a:off x="8239396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4.15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9" name="テキスト ボックス 8"/>
          <p:cNvSpPr txBox="1"/>
          <p:nvPr/>
        </p:nvSpPr>
        <p:spPr bwMode="auto">
          <a:xfrm>
            <a:off x="9017314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5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0" name="テキスト ボックス 9"/>
          <p:cNvSpPr txBox="1"/>
          <p:nvPr/>
        </p:nvSpPr>
        <p:spPr bwMode="auto">
          <a:xfrm>
            <a:off x="12792810" y="-202224"/>
            <a:ext cx="323807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13.3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1" name="テキスト ボックス 10"/>
          <p:cNvSpPr txBox="1"/>
          <p:nvPr/>
        </p:nvSpPr>
        <p:spPr bwMode="auto">
          <a:xfrm>
            <a:off x="6734248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0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2" name="テキスト ボックス 11"/>
          <p:cNvSpPr txBox="1"/>
          <p:nvPr/>
        </p:nvSpPr>
        <p:spPr bwMode="auto">
          <a:xfrm>
            <a:off x="4887838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4.15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3" name="テキスト ボックス 12"/>
          <p:cNvSpPr txBox="1"/>
          <p:nvPr/>
        </p:nvSpPr>
        <p:spPr bwMode="auto">
          <a:xfrm>
            <a:off x="4104730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5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4" name="テキスト ボックス 13"/>
          <p:cNvSpPr txBox="1"/>
          <p:nvPr/>
        </p:nvSpPr>
        <p:spPr bwMode="auto">
          <a:xfrm>
            <a:off x="239483" y="-202224"/>
            <a:ext cx="323807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13.3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5" name="テキスト ボックス 14"/>
          <p:cNvSpPr txBox="1"/>
          <p:nvPr userDrawn="1"/>
        </p:nvSpPr>
        <p:spPr bwMode="auto">
          <a:xfrm>
            <a:off x="-786488" y="-202224"/>
            <a:ext cx="468077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ja-JP" altLang="en-US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ガイドの値</a:t>
            </a:r>
          </a:p>
        </p:txBody>
      </p:sp>
      <p:sp>
        <p:nvSpPr>
          <p:cNvPr id="16" name="テキスト ボックス 15"/>
          <p:cNvSpPr txBox="1"/>
          <p:nvPr/>
        </p:nvSpPr>
        <p:spPr bwMode="auto">
          <a:xfrm>
            <a:off x="-546021" y="553332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23" name="テキスト ボックス 22"/>
          <p:cNvSpPr txBox="1"/>
          <p:nvPr/>
        </p:nvSpPr>
        <p:spPr bwMode="auto">
          <a:xfrm>
            <a:off x="-546021" y="7021970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6A4FF860-8FEE-4040-847E-95AB959CB394}"/>
              </a:ext>
            </a:extLst>
          </p:cNvPr>
          <p:cNvSpPr txBox="1"/>
          <p:nvPr/>
        </p:nvSpPr>
        <p:spPr bwMode="auto">
          <a:xfrm>
            <a:off x="-546021" y="1592740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6.1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80F7EF49-5185-4031-BD1B-0E8555C78BD3}"/>
              </a:ext>
            </a:extLst>
          </p:cNvPr>
          <p:cNvSpPr txBox="1"/>
          <p:nvPr/>
        </p:nvSpPr>
        <p:spPr bwMode="auto">
          <a:xfrm>
            <a:off x="-546021" y="323925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6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cxnSp>
        <p:nvCxnSpPr>
          <p:cNvPr id="18" name="直線コネクタ 17">
            <a:extLst>
              <a:ext uri="{FF2B5EF4-FFF2-40B4-BE49-F238E27FC236}">
                <a16:creationId xmlns:a16="http://schemas.microsoft.com/office/drawing/2014/main" id="{DA971C31-771C-4E16-A7E4-2454A33D205C}"/>
              </a:ext>
            </a:extLst>
          </p:cNvPr>
          <p:cNvCxnSpPr/>
          <p:nvPr/>
        </p:nvCxnSpPr>
        <p:spPr bwMode="auto">
          <a:xfrm>
            <a:off x="0" y="1260000"/>
            <a:ext cx="13441190" cy="0"/>
          </a:xfrm>
          <a:prstGeom prst="line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Text Box 13">
            <a:extLst>
              <a:ext uri="{FF2B5EF4-FFF2-40B4-BE49-F238E27FC236}">
                <a16:creationId xmlns:a16="http://schemas.microsoft.com/office/drawing/2014/main" id="{4001F2A1-9E41-4800-A58F-CD71FBEA2C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241547" y="7092631"/>
            <a:ext cx="498922" cy="1447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/>
          <a:lstStyle/>
          <a:p>
            <a:pPr marL="0" marR="0" lvl="0" indent="0" algn="r" defTabSz="9953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17C079-91D2-41EA-A70C-62ABED709FF5}" type="slidenum">
              <a:rPr kumimoji="0" lang="ja-JP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" panose="02000503020000020004" pitchFamily="2" charset="0"/>
                <a:ea typeface="Meiryo UI" panose="020B0604030504040204" pitchFamily="50" charset="-128"/>
                <a:cs typeface="+mn-cs"/>
              </a:rPr>
              <a:pPr marL="0" marR="0" lvl="0" indent="0" algn="r" defTabSz="9953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ja-JP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EYInterstate" panose="02000503020000020004" pitchFamily="2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2A0AA2D7-6095-43BE-98CE-F2FBBA652BEF}"/>
              </a:ext>
            </a:extLst>
          </p:cNvPr>
          <p:cNvSpPr txBox="1"/>
          <p:nvPr/>
        </p:nvSpPr>
        <p:spPr bwMode="auto">
          <a:xfrm>
            <a:off x="-546021" y="723741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6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cxnSp>
        <p:nvCxnSpPr>
          <p:cNvPr id="40" name="直線コネクタ 39">
            <a:extLst>
              <a:ext uri="{FF2B5EF4-FFF2-40B4-BE49-F238E27FC236}">
                <a16:creationId xmlns:a16="http://schemas.microsoft.com/office/drawing/2014/main" id="{BC06DD5C-1AB3-4DDD-89AE-1477C70567A3}"/>
              </a:ext>
            </a:extLst>
          </p:cNvPr>
          <p:cNvCxnSpPr/>
          <p:nvPr/>
        </p:nvCxnSpPr>
        <p:spPr bwMode="auto">
          <a:xfrm>
            <a:off x="0" y="1260000"/>
            <a:ext cx="13441190" cy="0"/>
          </a:xfrm>
          <a:prstGeom prst="line">
            <a:avLst/>
          </a:prstGeom>
          <a:noFill/>
          <a:ln w="19050" cap="flat" cmpd="sng" algn="ctr">
            <a:solidFill>
              <a:srgbClr val="FF6D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252566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4" r:id="rId1"/>
    <p:sldLayoutId id="2147484455" r:id="rId2"/>
    <p:sldLayoutId id="2147484480" r:id="rId3"/>
    <p:sldLayoutId id="2147484470" r:id="rId4"/>
    <p:sldLayoutId id="2147484471" r:id="rId5"/>
    <p:sldLayoutId id="2147484457" r:id="rId6"/>
    <p:sldLayoutId id="2147484459" r:id="rId7"/>
    <p:sldLayoutId id="2147484460" r:id="rId8"/>
    <p:sldLayoutId id="2147484472" r:id="rId9"/>
    <p:sldLayoutId id="2147484475" r:id="rId10"/>
    <p:sldLayoutId id="2147484462" r:id="rId11"/>
    <p:sldLayoutId id="2147484484" r:id="rId12"/>
    <p:sldLayoutId id="2147484477" r:id="rId13"/>
    <p:sldLayoutId id="2147484478" r:id="rId14"/>
    <p:sldLayoutId id="2147484479" r:id="rId15"/>
    <p:sldLayoutId id="2147484463" r:id="rId16"/>
    <p:sldLayoutId id="2147484465" r:id="rId17"/>
    <p:sldLayoutId id="2147484485" r:id="rId18"/>
    <p:sldLayoutId id="2147484464" r:id="rId19"/>
    <p:sldLayoutId id="2147484467" r:id="rId20"/>
    <p:sldLayoutId id="2147484552" r:id="rId21"/>
    <p:sldLayoutId id="2147484554" r:id="rId22"/>
  </p:sldLayoutIdLst>
  <p:hf hdr="0" ftr="0" dt="0"/>
  <p:txStyles>
    <p:titleStyle>
      <a:lvl1pPr algn="l" defTabSz="1043056" rtl="0" eaLnBrk="1" latinLnBrk="0" hangingPunct="1">
        <a:lnSpc>
          <a:spcPct val="85000"/>
        </a:lnSpc>
        <a:spcBef>
          <a:spcPct val="0"/>
        </a:spcBef>
        <a:buNone/>
        <a:defRPr kumimoji="1" sz="3400" b="1" kern="1200" baseline="0">
          <a:solidFill>
            <a:schemeClr val="accent1"/>
          </a:solidFill>
          <a:latin typeface="EYInterstate" panose="02000503020000020004" pitchFamily="2" charset="0"/>
          <a:ea typeface="ＭＳ Ｐゴシック" panose="020B0600070205080204" pitchFamily="50" charset="-128"/>
          <a:cs typeface="Arial" pitchFamily="34" charset="0"/>
        </a:defRPr>
      </a:lvl1pPr>
    </p:titleStyle>
    <p:bodyStyle>
      <a:lvl1pPr marL="391146" indent="-391146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09456" indent="-40382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2300" kern="1200">
          <a:solidFill>
            <a:schemeClr val="tx2"/>
          </a:solidFill>
          <a:latin typeface="+mn-lt"/>
          <a:ea typeface="+mn-ea"/>
          <a:cs typeface="+mn-cs"/>
        </a:defRPr>
      </a:lvl2pPr>
      <a:lvl3pPr marL="1229575" indent="-40382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635208" indent="-40563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39030" indent="-40382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8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pos="443" userDrawn="1">
          <p15:clr>
            <a:srgbClr val="F26B43"/>
          </p15:clr>
        </p15:guide>
        <p15:guide id="8" pos="8025" userDrawn="1">
          <p15:clr>
            <a:srgbClr val="F26B43"/>
          </p15:clr>
        </p15:guide>
        <p15:guide id="11" orient="horz" pos="4423" userDrawn="1">
          <p15:clr>
            <a:srgbClr val="F26B43"/>
          </p15:clr>
        </p15:guide>
        <p15:guide id="20" orient="horz" pos="340" userDrawn="1">
          <p15:clr>
            <a:srgbClr val="F26B43"/>
          </p15:clr>
        </p15:guide>
        <p15:guide id="21" pos="4234" userDrawn="1">
          <p15:clr>
            <a:srgbClr val="F26B43"/>
          </p15:clr>
        </p15:guide>
        <p15:guide id="22" pos="3051" userDrawn="1">
          <p15:clr>
            <a:srgbClr val="F26B43"/>
          </p15:clr>
        </p15:guide>
        <p15:guide id="23" pos="5416" userDrawn="1">
          <p15:clr>
            <a:srgbClr val="F26B43"/>
          </p15:clr>
        </p15:guide>
        <p15:guide id="24" pos="5660" userDrawn="1">
          <p15:clr>
            <a:srgbClr val="F26B43"/>
          </p15:clr>
        </p15:guide>
        <p15:guide id="25" pos="2808" userDrawn="1">
          <p15:clr>
            <a:srgbClr val="F26B43"/>
          </p15:clr>
        </p15:guide>
        <p15:guide id="26" orient="horz" pos="998" userDrawn="1">
          <p15:clr>
            <a:srgbClr val="F26B43"/>
          </p15:clr>
        </p15:guide>
        <p15:guide id="27" orient="horz" pos="4559" userDrawn="1">
          <p15:clr>
            <a:srgbClr val="F26B43"/>
          </p15:clr>
        </p15:guide>
        <p15:guide id="28" orient="horz" pos="2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A944CFAE-F928-4B6F-81C3-B560DB3F28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925" y="403225"/>
            <a:ext cx="11595100" cy="1460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553FCF69-247D-4F8D-8670-4CABED8A99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23925" y="2012950"/>
            <a:ext cx="11595100" cy="47974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E66A9723-C84C-451E-B694-29A01FF5D4F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3925" y="7008813"/>
            <a:ext cx="3024188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343E62-45F1-4F36-B874-716966E5FE7D}" type="datetime1">
              <a:rPr kumimoji="1" lang="ja-JP" altLang="en-US" smtClean="0"/>
              <a:t>2024/1/2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497D7895-70D0-4254-8465-6AE77EB4F5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52938" y="7008813"/>
            <a:ext cx="4537075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F543C1A2-AF6E-4820-8F09-1DE497DB6A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94838" y="7008813"/>
            <a:ext cx="3024187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E2D269-C100-4E60-AAE1-93A71DC187D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1154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1" r:id="rId1"/>
    <p:sldLayoutId id="2147484562" r:id="rId2"/>
    <p:sldLayoutId id="2147484563" r:id="rId3"/>
    <p:sldLayoutId id="2147484564" r:id="rId4"/>
    <p:sldLayoutId id="2147484565" r:id="rId5"/>
    <p:sldLayoutId id="2147484566" r:id="rId6"/>
    <p:sldLayoutId id="2147484569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8CECDCFA-814C-43F5-B17F-EF6F74BA1C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4192291755"/>
              </p:ext>
            </p:extLst>
          </p:nvPr>
        </p:nvGraphicFramePr>
        <p:xfrm>
          <a:off x="1996" y="1588"/>
          <a:ext cx="199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4" imgW="592" imgH="591" progId="TCLayout.ActiveDocument.1">
                  <p:embed/>
                </p:oleObj>
              </mc:Choice>
              <mc:Fallback>
                <p:oleObj name="think-cell スライド" r:id="rId24" imgW="592" imgH="591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8CECDCFA-814C-43F5-B17F-EF6F74BA1C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996" y="1588"/>
                        <a:ext cx="199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20B86B06-9A95-4C4E-A988-6759B1136BBD}"/>
              </a:ext>
            </a:extLst>
          </p:cNvPr>
          <p:cNvGrpSpPr/>
          <p:nvPr userDrawn="1"/>
        </p:nvGrpSpPr>
        <p:grpSpPr>
          <a:xfrm>
            <a:off x="-563523" y="-201097"/>
            <a:ext cx="13644842" cy="7681398"/>
            <a:chOff x="-511085" y="-182393"/>
            <a:chExt cx="12375104" cy="6966961"/>
          </a:xfrm>
        </p:grpSpPr>
        <p:sp>
          <p:nvSpPr>
            <p:cNvPr id="10" name="テキスト ボックス 9"/>
            <p:cNvSpPr txBox="1"/>
            <p:nvPr/>
          </p:nvSpPr>
          <p:spPr bwMode="auto">
            <a:xfrm>
              <a:off x="11622683" y="-182393"/>
              <a:ext cx="241336" cy="103868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altLang="ja-JP" sz="744" baseline="0">
                  <a:solidFill>
                    <a:schemeClr val="tx2"/>
                  </a:solidFill>
                  <a:latin typeface="EYInterstate" panose="02000503020000020004" pitchFamily="2" charset="0"/>
                  <a:ea typeface="Meiryo UI" panose="020B0604030504040204" pitchFamily="50" charset="-128"/>
                </a:rPr>
                <a:t>15.30</a:t>
              </a:r>
              <a:endParaRPr lang="ja-JP" altLang="en-US" sz="744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endParaRPr>
            </a:p>
          </p:txBody>
        </p:sp>
        <p:sp>
          <p:nvSpPr>
            <p:cNvPr id="14" name="テキスト ボックス 13"/>
            <p:cNvSpPr txBox="1"/>
            <p:nvPr/>
          </p:nvSpPr>
          <p:spPr bwMode="auto">
            <a:xfrm>
              <a:off x="244112" y="-182393"/>
              <a:ext cx="241336" cy="103868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altLang="ja-JP" sz="744" baseline="0">
                  <a:solidFill>
                    <a:schemeClr val="tx2"/>
                  </a:solidFill>
                  <a:latin typeface="EYInterstate" panose="02000503020000020004" pitchFamily="2" charset="0"/>
                  <a:ea typeface="Meiryo UI" panose="020B0604030504040204" pitchFamily="50" charset="-128"/>
                </a:rPr>
                <a:t>15.30</a:t>
              </a:r>
              <a:endParaRPr lang="ja-JP" altLang="en-US" sz="744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endParaRPr>
            </a:p>
          </p:txBody>
        </p:sp>
        <p:sp>
          <p:nvSpPr>
            <p:cNvPr id="15" name="テキスト ボックス 14"/>
            <p:cNvSpPr txBox="1"/>
            <p:nvPr userDrawn="1"/>
          </p:nvSpPr>
          <p:spPr bwMode="auto">
            <a:xfrm>
              <a:off x="-511085" y="-182393"/>
              <a:ext cx="351828" cy="103868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ja-JP" altLang="en-US" sz="744" baseline="0">
                  <a:solidFill>
                    <a:schemeClr val="tx2"/>
                  </a:solidFill>
                  <a:latin typeface="EYInterstate" panose="02000503020000020004" pitchFamily="2" charset="0"/>
                  <a:ea typeface="Meiryo UI" panose="020B0604030504040204" pitchFamily="50" charset="-128"/>
                </a:rPr>
                <a:t>ガイドの値</a:t>
              </a:r>
            </a:p>
          </p:txBody>
        </p:sp>
        <p:sp>
          <p:nvSpPr>
            <p:cNvPr id="16" name="テキスト ボックス 15"/>
            <p:cNvSpPr txBox="1"/>
            <p:nvPr/>
          </p:nvSpPr>
          <p:spPr bwMode="auto">
            <a:xfrm>
              <a:off x="-444902" y="500006"/>
              <a:ext cx="187545" cy="103868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altLang="ja-JP" sz="744" baseline="0">
                  <a:solidFill>
                    <a:schemeClr val="tx2"/>
                  </a:solidFill>
                  <a:latin typeface="EYInterstate" panose="02000503020000020004" pitchFamily="2" charset="0"/>
                  <a:ea typeface="Meiryo UI" panose="020B0604030504040204" pitchFamily="50" charset="-128"/>
                </a:rPr>
                <a:t>8.20</a:t>
              </a:r>
              <a:endParaRPr lang="ja-JP" altLang="en-US" sz="744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endParaRPr>
            </a:p>
          </p:txBody>
        </p:sp>
        <p:sp>
          <p:nvSpPr>
            <p:cNvPr id="23" name="テキスト ボックス 22"/>
            <p:cNvSpPr txBox="1"/>
            <p:nvPr/>
          </p:nvSpPr>
          <p:spPr bwMode="auto">
            <a:xfrm>
              <a:off x="-414421" y="6680700"/>
              <a:ext cx="187545" cy="103868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altLang="ja-JP" sz="744" baseline="0">
                  <a:solidFill>
                    <a:schemeClr val="tx2"/>
                  </a:solidFill>
                  <a:latin typeface="EYInterstate" panose="02000503020000020004" pitchFamily="2" charset="0"/>
                  <a:ea typeface="Meiryo UI" panose="020B0604030504040204" pitchFamily="50" charset="-128"/>
                </a:rPr>
                <a:t>9.00</a:t>
              </a:r>
              <a:endParaRPr lang="ja-JP" altLang="en-US" sz="744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endParaRPr>
            </a:p>
          </p:txBody>
        </p:sp>
        <p:sp>
          <p:nvSpPr>
            <p:cNvPr id="19" name="テキスト ボックス 18">
              <a:extLst>
                <a:ext uri="{FF2B5EF4-FFF2-40B4-BE49-F238E27FC236}">
                  <a16:creationId xmlns:a16="http://schemas.microsoft.com/office/drawing/2014/main" id="{6A4FF860-8FEE-4040-847E-95AB959CB394}"/>
                </a:ext>
              </a:extLst>
            </p:cNvPr>
            <p:cNvSpPr txBox="1"/>
            <p:nvPr/>
          </p:nvSpPr>
          <p:spPr bwMode="auto">
            <a:xfrm>
              <a:off x="-444902" y="1452629"/>
              <a:ext cx="187545" cy="103868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altLang="ja-JP" sz="744" baseline="0">
                  <a:solidFill>
                    <a:schemeClr val="tx2"/>
                  </a:solidFill>
                  <a:latin typeface="EYInterstate" panose="02000503020000020004" pitchFamily="2" charset="0"/>
                  <a:ea typeface="Meiryo UI" panose="020B0604030504040204" pitchFamily="50" charset="-128"/>
                </a:rPr>
                <a:t>5.50</a:t>
              </a:r>
              <a:endParaRPr lang="ja-JP" altLang="en-US" sz="744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endParaRPr>
            </a:p>
          </p:txBody>
        </p:sp>
        <p:sp>
          <p:nvSpPr>
            <p:cNvPr id="27" name="テキスト ボックス 26">
              <a:extLst>
                <a:ext uri="{FF2B5EF4-FFF2-40B4-BE49-F238E27FC236}">
                  <a16:creationId xmlns:a16="http://schemas.microsoft.com/office/drawing/2014/main" id="{80F7EF49-5185-4031-BD1B-0E8555C78BD3}"/>
                </a:ext>
              </a:extLst>
            </p:cNvPr>
            <p:cNvSpPr txBox="1"/>
            <p:nvPr/>
          </p:nvSpPr>
          <p:spPr bwMode="auto">
            <a:xfrm>
              <a:off x="-444902" y="264879"/>
              <a:ext cx="187545" cy="103868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altLang="ja-JP" sz="744" baseline="0">
                  <a:solidFill>
                    <a:schemeClr val="tx2"/>
                  </a:solidFill>
                  <a:latin typeface="EYInterstate" panose="02000503020000020004" pitchFamily="2" charset="0"/>
                  <a:ea typeface="Meiryo UI" panose="020B0604030504040204" pitchFamily="50" charset="-128"/>
                </a:rPr>
                <a:t>8.80</a:t>
              </a:r>
              <a:endParaRPr lang="ja-JP" altLang="en-US" sz="744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endParaRPr>
            </a:p>
          </p:txBody>
        </p:sp>
      </p:grpSp>
      <p:cxnSp>
        <p:nvCxnSpPr>
          <p:cNvPr id="40" name="直線コネクタ 39">
            <a:extLst>
              <a:ext uri="{FF2B5EF4-FFF2-40B4-BE49-F238E27FC236}">
                <a16:creationId xmlns:a16="http://schemas.microsoft.com/office/drawing/2014/main" id="{BC06DD5C-1AB3-4DDD-89AE-1477C70567A3}"/>
              </a:ext>
            </a:extLst>
          </p:cNvPr>
          <p:cNvCxnSpPr/>
          <p:nvPr/>
        </p:nvCxnSpPr>
        <p:spPr bwMode="auto">
          <a:xfrm>
            <a:off x="1" y="1399787"/>
            <a:ext cx="13441190" cy="0"/>
          </a:xfrm>
          <a:prstGeom prst="line">
            <a:avLst/>
          </a:prstGeom>
          <a:noFill/>
          <a:ln w="19050" cap="flat" cmpd="sng" algn="ctr">
            <a:solidFill>
              <a:srgbClr val="082C6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28381FE-8538-4152-9A20-B2521C7829B6}"/>
              </a:ext>
            </a:extLst>
          </p:cNvPr>
          <p:cNvSpPr txBox="1"/>
          <p:nvPr userDrawn="1"/>
        </p:nvSpPr>
        <p:spPr bwMode="auto">
          <a:xfrm>
            <a:off x="-456944" y="7094524"/>
            <a:ext cx="206788" cy="11451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744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8.30</a:t>
            </a:r>
            <a:endParaRPr lang="ja-JP" altLang="en-US" sz="744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20" name="Text Box 13">
            <a:extLst>
              <a:ext uri="{FF2B5EF4-FFF2-40B4-BE49-F238E27FC236}">
                <a16:creationId xmlns:a16="http://schemas.microsoft.com/office/drawing/2014/main" id="{71D83D69-B4AC-41B7-88AB-3CBE46AABF0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2740469" y="7295668"/>
            <a:ext cx="498923" cy="1447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/>
          <a:lstStyle/>
          <a:p>
            <a:pPr marL="0" marR="0" lvl="0" indent="0" algn="r" defTabSz="93837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17C079-91D2-41EA-A70C-62ABED709FF5}" type="slidenum">
              <a:rPr kumimoji="0" lang="ja-JP" altLang="en-US" sz="802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" panose="02000503020000020004" pitchFamily="2" charset="0"/>
                <a:ea typeface="Meiryo UI" panose="020B0604030504040204" pitchFamily="50" charset="-128"/>
                <a:cs typeface="+mn-cs"/>
              </a:rPr>
              <a:pPr marL="0" marR="0" lvl="0" indent="0" algn="r" defTabSz="93837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ja-JP" sz="802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EYInterstate" panose="02000503020000020004" pitchFamily="2" charset="0"/>
              <a:ea typeface="Meiryo UI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6559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7" r:id="rId1"/>
    <p:sldLayoutId id="2147484488" r:id="rId2"/>
    <p:sldLayoutId id="2147484489" r:id="rId3"/>
    <p:sldLayoutId id="2147484490" r:id="rId4"/>
    <p:sldLayoutId id="2147484491" r:id="rId5"/>
    <p:sldLayoutId id="2147484492" r:id="rId6"/>
    <p:sldLayoutId id="2147484493" r:id="rId7"/>
    <p:sldLayoutId id="2147484494" r:id="rId8"/>
    <p:sldLayoutId id="2147484495" r:id="rId9"/>
    <p:sldLayoutId id="2147484496" r:id="rId10"/>
    <p:sldLayoutId id="2147484497" r:id="rId11"/>
    <p:sldLayoutId id="2147484498" r:id="rId12"/>
    <p:sldLayoutId id="2147484499" r:id="rId13"/>
    <p:sldLayoutId id="2147484500" r:id="rId14"/>
    <p:sldLayoutId id="2147484501" r:id="rId15"/>
    <p:sldLayoutId id="2147484502" r:id="rId16"/>
    <p:sldLayoutId id="2147484503" r:id="rId17"/>
    <p:sldLayoutId id="2147484504" r:id="rId18"/>
    <p:sldLayoutId id="2147484505" r:id="rId19"/>
    <p:sldLayoutId id="2147484506" r:id="rId20"/>
    <p:sldLayoutId id="2147484507" r:id="rId21"/>
  </p:sldLayoutIdLst>
  <p:hf hdr="0" ftr="0" dt="0"/>
  <p:txStyles>
    <p:titleStyle>
      <a:lvl1pPr algn="l" defTabSz="782198" rtl="0" eaLnBrk="1" latinLnBrk="0" hangingPunct="1">
        <a:lnSpc>
          <a:spcPct val="85000"/>
        </a:lnSpc>
        <a:spcBef>
          <a:spcPct val="0"/>
        </a:spcBef>
        <a:buNone/>
        <a:defRPr kumimoji="1" sz="2549" b="1" kern="1200" baseline="0">
          <a:solidFill>
            <a:schemeClr val="accent1"/>
          </a:solidFill>
          <a:latin typeface="EYInterstate" panose="02000503020000020004" pitchFamily="2" charset="0"/>
          <a:ea typeface="ＭＳ Ｐゴシック" panose="020B0600070205080204" pitchFamily="50" charset="-128"/>
          <a:cs typeface="Arial" pitchFamily="34" charset="0"/>
        </a:defRPr>
      </a:lvl1pPr>
    </p:titleStyle>
    <p:bodyStyle>
      <a:lvl1pPr marL="293325" indent="-293325" algn="l" defTabSz="782198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2025" kern="1200">
          <a:solidFill>
            <a:schemeClr val="tx2"/>
          </a:solidFill>
          <a:latin typeface="+mn-lt"/>
          <a:ea typeface="+mn-ea"/>
          <a:cs typeface="+mn-cs"/>
        </a:defRPr>
      </a:lvl1pPr>
      <a:lvl2pPr marL="607020" indent="-302830" algn="l" defTabSz="782198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1725" kern="1200">
          <a:solidFill>
            <a:schemeClr val="tx2"/>
          </a:solidFill>
          <a:latin typeface="+mn-lt"/>
          <a:ea typeface="+mn-ea"/>
          <a:cs typeface="+mn-cs"/>
        </a:defRPr>
      </a:lvl2pPr>
      <a:lvl3pPr marL="922071" indent="-302830" algn="l" defTabSz="782198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1574" kern="1200">
          <a:solidFill>
            <a:schemeClr val="tx2"/>
          </a:solidFill>
          <a:latin typeface="+mn-lt"/>
          <a:ea typeface="+mn-ea"/>
          <a:cs typeface="+mn-cs"/>
        </a:defRPr>
      </a:lvl3pPr>
      <a:lvl4pPr marL="1226260" indent="-304189" algn="l" defTabSz="782198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1349" kern="1200">
          <a:solidFill>
            <a:schemeClr val="tx2"/>
          </a:solidFill>
          <a:latin typeface="+mn-lt"/>
          <a:ea typeface="+mn-ea"/>
          <a:cs typeface="+mn-cs"/>
        </a:defRPr>
      </a:lvl4pPr>
      <a:lvl5pPr marL="1529089" indent="-302830" algn="l" defTabSz="782198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1349" kern="1200">
          <a:solidFill>
            <a:schemeClr val="tx2"/>
          </a:solidFill>
          <a:latin typeface="+mn-lt"/>
          <a:ea typeface="+mn-ea"/>
          <a:cs typeface="+mn-cs"/>
        </a:defRPr>
      </a:lvl5pPr>
      <a:lvl6pPr marL="2151045" indent="-195549" algn="l" defTabSz="782198" rtl="0" eaLnBrk="1" latinLnBrk="0" hangingPunct="1">
        <a:spcBef>
          <a:spcPct val="20000"/>
        </a:spcBef>
        <a:buFont typeface="Arial" pitchFamily="34" charset="0"/>
        <a:buChar char="•"/>
        <a:defRPr kumimoji="1" sz="1725" kern="1200">
          <a:solidFill>
            <a:schemeClr val="tx1"/>
          </a:solidFill>
          <a:latin typeface="+mn-lt"/>
          <a:ea typeface="+mn-ea"/>
          <a:cs typeface="+mn-cs"/>
        </a:defRPr>
      </a:lvl6pPr>
      <a:lvl7pPr marL="2542146" indent="-195549" algn="l" defTabSz="782198" rtl="0" eaLnBrk="1" latinLnBrk="0" hangingPunct="1">
        <a:spcBef>
          <a:spcPct val="20000"/>
        </a:spcBef>
        <a:buFont typeface="Arial" pitchFamily="34" charset="0"/>
        <a:buChar char="•"/>
        <a:defRPr kumimoji="1" sz="1725" kern="1200">
          <a:solidFill>
            <a:schemeClr val="tx1"/>
          </a:solidFill>
          <a:latin typeface="+mn-lt"/>
          <a:ea typeface="+mn-ea"/>
          <a:cs typeface="+mn-cs"/>
        </a:defRPr>
      </a:lvl7pPr>
      <a:lvl8pPr marL="2933244" indent="-195549" algn="l" defTabSz="782198" rtl="0" eaLnBrk="1" latinLnBrk="0" hangingPunct="1">
        <a:spcBef>
          <a:spcPct val="20000"/>
        </a:spcBef>
        <a:buFont typeface="Arial" pitchFamily="34" charset="0"/>
        <a:buChar char="•"/>
        <a:defRPr kumimoji="1" sz="1725" kern="1200">
          <a:solidFill>
            <a:schemeClr val="tx1"/>
          </a:solidFill>
          <a:latin typeface="+mn-lt"/>
          <a:ea typeface="+mn-ea"/>
          <a:cs typeface="+mn-cs"/>
        </a:defRPr>
      </a:lvl8pPr>
      <a:lvl9pPr marL="3324343" indent="-195549" algn="l" defTabSz="782198" rtl="0" eaLnBrk="1" latinLnBrk="0" hangingPunct="1">
        <a:spcBef>
          <a:spcPct val="20000"/>
        </a:spcBef>
        <a:buFont typeface="Arial" pitchFamily="34" charset="0"/>
        <a:buChar char="•"/>
        <a:defRPr kumimoji="1" sz="17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82198" rtl="0" eaLnBrk="1" latinLnBrk="0" hangingPunct="1">
        <a:defRPr kumimoji="1" sz="1574" kern="1200">
          <a:solidFill>
            <a:schemeClr val="tx1"/>
          </a:solidFill>
          <a:latin typeface="+mn-lt"/>
          <a:ea typeface="+mn-ea"/>
          <a:cs typeface="+mn-cs"/>
        </a:defRPr>
      </a:lvl1pPr>
      <a:lvl2pPr marL="391100" algn="l" defTabSz="782198" rtl="0" eaLnBrk="1" latinLnBrk="0" hangingPunct="1">
        <a:defRPr kumimoji="1" sz="1574" kern="1200">
          <a:solidFill>
            <a:schemeClr val="tx1"/>
          </a:solidFill>
          <a:latin typeface="+mn-lt"/>
          <a:ea typeface="+mn-ea"/>
          <a:cs typeface="+mn-cs"/>
        </a:defRPr>
      </a:lvl2pPr>
      <a:lvl3pPr marL="782198" algn="l" defTabSz="782198" rtl="0" eaLnBrk="1" latinLnBrk="0" hangingPunct="1">
        <a:defRPr kumimoji="1" sz="1574" kern="1200">
          <a:solidFill>
            <a:schemeClr val="tx1"/>
          </a:solidFill>
          <a:latin typeface="+mn-lt"/>
          <a:ea typeface="+mn-ea"/>
          <a:cs typeface="+mn-cs"/>
        </a:defRPr>
      </a:lvl3pPr>
      <a:lvl4pPr marL="1173298" algn="l" defTabSz="782198" rtl="0" eaLnBrk="1" latinLnBrk="0" hangingPunct="1">
        <a:defRPr kumimoji="1" sz="1574" kern="1200">
          <a:solidFill>
            <a:schemeClr val="tx1"/>
          </a:solidFill>
          <a:latin typeface="+mn-lt"/>
          <a:ea typeface="+mn-ea"/>
          <a:cs typeface="+mn-cs"/>
        </a:defRPr>
      </a:lvl4pPr>
      <a:lvl5pPr marL="1564397" algn="l" defTabSz="782198" rtl="0" eaLnBrk="1" latinLnBrk="0" hangingPunct="1">
        <a:defRPr kumimoji="1" sz="1574" kern="1200">
          <a:solidFill>
            <a:schemeClr val="tx1"/>
          </a:solidFill>
          <a:latin typeface="+mn-lt"/>
          <a:ea typeface="+mn-ea"/>
          <a:cs typeface="+mn-cs"/>
        </a:defRPr>
      </a:lvl5pPr>
      <a:lvl6pPr marL="1955495" algn="l" defTabSz="782198" rtl="0" eaLnBrk="1" latinLnBrk="0" hangingPunct="1">
        <a:defRPr kumimoji="1" sz="1574" kern="1200">
          <a:solidFill>
            <a:schemeClr val="tx1"/>
          </a:solidFill>
          <a:latin typeface="+mn-lt"/>
          <a:ea typeface="+mn-ea"/>
          <a:cs typeface="+mn-cs"/>
        </a:defRPr>
      </a:lvl6pPr>
      <a:lvl7pPr marL="2346595" algn="l" defTabSz="782198" rtl="0" eaLnBrk="1" latinLnBrk="0" hangingPunct="1">
        <a:defRPr kumimoji="1" sz="1574" kern="1200">
          <a:solidFill>
            <a:schemeClr val="tx1"/>
          </a:solidFill>
          <a:latin typeface="+mn-lt"/>
          <a:ea typeface="+mn-ea"/>
          <a:cs typeface="+mn-cs"/>
        </a:defRPr>
      </a:lvl7pPr>
      <a:lvl8pPr marL="2737694" algn="l" defTabSz="782198" rtl="0" eaLnBrk="1" latinLnBrk="0" hangingPunct="1">
        <a:defRPr kumimoji="1" sz="1574" kern="1200">
          <a:solidFill>
            <a:schemeClr val="tx1"/>
          </a:solidFill>
          <a:latin typeface="+mn-lt"/>
          <a:ea typeface="+mn-ea"/>
          <a:cs typeface="+mn-cs"/>
        </a:defRPr>
      </a:lvl8pPr>
      <a:lvl9pPr marL="3128794" algn="l" defTabSz="782198" rtl="0" eaLnBrk="1" latinLnBrk="0" hangingPunct="1">
        <a:defRPr kumimoji="1" sz="157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pos="465" userDrawn="1">
          <p15:clr>
            <a:srgbClr val="F26B43"/>
          </p15:clr>
        </p15:guide>
        <p15:guide id="8" pos="9190" userDrawn="1">
          <p15:clr>
            <a:srgbClr val="F26B43"/>
          </p15:clr>
        </p15:guide>
        <p15:guide id="20" orient="horz" pos="300" userDrawn="1">
          <p15:clr>
            <a:srgbClr val="F26B43"/>
          </p15:clr>
        </p15:guide>
        <p15:guide id="21" pos="4827" userDrawn="1">
          <p15:clr>
            <a:srgbClr val="F26B43"/>
          </p15:clr>
        </p15:guide>
        <p15:guide id="26" orient="horz" pos="913" userDrawn="1">
          <p15:clr>
            <a:srgbClr val="F26B43"/>
          </p15:clr>
        </p15:guide>
        <p15:guide id="28" orient="horz" pos="164" userDrawn="1">
          <p15:clr>
            <a:srgbClr val="F26B43"/>
          </p15:clr>
        </p15:guide>
        <p15:guide id="29" orient="horz" pos="4201" userDrawn="1">
          <p15:clr>
            <a:srgbClr val="F26B43"/>
          </p15:clr>
        </p15:guide>
        <p15:guide id="30" orient="horz" pos="4042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C3CC8528-0F47-406C-A7DA-47D0A6239F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</p:nvPr>
        </p:nvGraphicFramePr>
        <p:xfrm>
          <a:off x="1996" y="1588"/>
          <a:ext cx="199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5" imgW="592" imgH="591" progId="TCLayout.ActiveDocument.1">
                  <p:embed/>
                </p:oleObj>
              </mc:Choice>
              <mc:Fallback>
                <p:oleObj name="think-cell スライド" r:id="rId25" imgW="592" imgH="591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C3CC8528-0F47-406C-A7DA-47D0A6239F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996" y="1588"/>
                        <a:ext cx="199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テキスト ボックス 7"/>
          <p:cNvSpPr txBox="1"/>
          <p:nvPr/>
        </p:nvSpPr>
        <p:spPr bwMode="auto">
          <a:xfrm>
            <a:off x="8239396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4.15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9" name="テキスト ボックス 8"/>
          <p:cNvSpPr txBox="1"/>
          <p:nvPr/>
        </p:nvSpPr>
        <p:spPr bwMode="auto">
          <a:xfrm>
            <a:off x="9017314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5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0" name="テキスト ボックス 9"/>
          <p:cNvSpPr txBox="1"/>
          <p:nvPr/>
        </p:nvSpPr>
        <p:spPr bwMode="auto">
          <a:xfrm>
            <a:off x="12792810" y="-202224"/>
            <a:ext cx="323807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13.3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1" name="テキスト ボックス 10"/>
          <p:cNvSpPr txBox="1"/>
          <p:nvPr/>
        </p:nvSpPr>
        <p:spPr bwMode="auto">
          <a:xfrm>
            <a:off x="6734248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0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2" name="テキスト ボックス 11"/>
          <p:cNvSpPr txBox="1"/>
          <p:nvPr/>
        </p:nvSpPr>
        <p:spPr bwMode="auto">
          <a:xfrm>
            <a:off x="4887838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4.15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3" name="テキスト ボックス 12"/>
          <p:cNvSpPr txBox="1"/>
          <p:nvPr/>
        </p:nvSpPr>
        <p:spPr bwMode="auto">
          <a:xfrm>
            <a:off x="4104730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5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4" name="テキスト ボックス 13"/>
          <p:cNvSpPr txBox="1"/>
          <p:nvPr/>
        </p:nvSpPr>
        <p:spPr bwMode="auto">
          <a:xfrm>
            <a:off x="239483" y="-202224"/>
            <a:ext cx="323807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13.3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5" name="テキスト ボックス 14"/>
          <p:cNvSpPr txBox="1"/>
          <p:nvPr userDrawn="1"/>
        </p:nvSpPr>
        <p:spPr bwMode="auto">
          <a:xfrm>
            <a:off x="-786488" y="-202224"/>
            <a:ext cx="468077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ja-JP" altLang="en-US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ガイドの値</a:t>
            </a:r>
          </a:p>
        </p:txBody>
      </p:sp>
      <p:sp>
        <p:nvSpPr>
          <p:cNvPr id="16" name="テキスト ボックス 15"/>
          <p:cNvSpPr txBox="1"/>
          <p:nvPr/>
        </p:nvSpPr>
        <p:spPr bwMode="auto">
          <a:xfrm>
            <a:off x="-546021" y="553332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23" name="テキスト ボックス 22"/>
          <p:cNvSpPr txBox="1"/>
          <p:nvPr/>
        </p:nvSpPr>
        <p:spPr bwMode="auto">
          <a:xfrm>
            <a:off x="-546021" y="7021970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6A4FF860-8FEE-4040-847E-95AB959CB394}"/>
              </a:ext>
            </a:extLst>
          </p:cNvPr>
          <p:cNvSpPr txBox="1"/>
          <p:nvPr/>
        </p:nvSpPr>
        <p:spPr bwMode="auto">
          <a:xfrm>
            <a:off x="-546021" y="1592740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6.1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80F7EF49-5185-4031-BD1B-0E8555C78BD3}"/>
              </a:ext>
            </a:extLst>
          </p:cNvPr>
          <p:cNvSpPr txBox="1"/>
          <p:nvPr/>
        </p:nvSpPr>
        <p:spPr bwMode="auto">
          <a:xfrm>
            <a:off x="-546021" y="323925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6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cxnSp>
        <p:nvCxnSpPr>
          <p:cNvPr id="18" name="直線コネクタ 17">
            <a:extLst>
              <a:ext uri="{FF2B5EF4-FFF2-40B4-BE49-F238E27FC236}">
                <a16:creationId xmlns:a16="http://schemas.microsoft.com/office/drawing/2014/main" id="{DA971C31-771C-4E16-A7E4-2454A33D205C}"/>
              </a:ext>
            </a:extLst>
          </p:cNvPr>
          <p:cNvCxnSpPr/>
          <p:nvPr/>
        </p:nvCxnSpPr>
        <p:spPr bwMode="auto">
          <a:xfrm>
            <a:off x="0" y="1260000"/>
            <a:ext cx="13441190" cy="0"/>
          </a:xfrm>
          <a:prstGeom prst="line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Text Box 13">
            <a:extLst>
              <a:ext uri="{FF2B5EF4-FFF2-40B4-BE49-F238E27FC236}">
                <a16:creationId xmlns:a16="http://schemas.microsoft.com/office/drawing/2014/main" id="{4001F2A1-9E41-4800-A58F-CD71FBEA2C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241547" y="7092631"/>
            <a:ext cx="498922" cy="1447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/>
          <a:lstStyle/>
          <a:p>
            <a:pPr marL="0" marR="0" lvl="0" indent="0" algn="r" defTabSz="9953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17C079-91D2-41EA-A70C-62ABED709FF5}" type="slidenum">
              <a:rPr kumimoji="0" lang="ja-JP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" panose="02000503020000020004" pitchFamily="2" charset="0"/>
                <a:ea typeface="Meiryo UI" panose="020B0604030504040204" pitchFamily="50" charset="-128"/>
                <a:cs typeface="+mn-cs"/>
              </a:rPr>
              <a:pPr marL="0" marR="0" lvl="0" indent="0" algn="r" defTabSz="9953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ja-JP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EYInterstate" panose="02000503020000020004" pitchFamily="2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2A0AA2D7-6095-43BE-98CE-F2FBBA652BEF}"/>
              </a:ext>
            </a:extLst>
          </p:cNvPr>
          <p:cNvSpPr txBox="1"/>
          <p:nvPr/>
        </p:nvSpPr>
        <p:spPr bwMode="auto">
          <a:xfrm>
            <a:off x="-546021" y="723741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6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cxnSp>
        <p:nvCxnSpPr>
          <p:cNvPr id="40" name="直線コネクタ 39">
            <a:extLst>
              <a:ext uri="{FF2B5EF4-FFF2-40B4-BE49-F238E27FC236}">
                <a16:creationId xmlns:a16="http://schemas.microsoft.com/office/drawing/2014/main" id="{BC06DD5C-1AB3-4DDD-89AE-1477C70567A3}"/>
              </a:ext>
            </a:extLst>
          </p:cNvPr>
          <p:cNvCxnSpPr/>
          <p:nvPr/>
        </p:nvCxnSpPr>
        <p:spPr bwMode="auto">
          <a:xfrm>
            <a:off x="0" y="1260000"/>
            <a:ext cx="13441190" cy="0"/>
          </a:xfrm>
          <a:prstGeom prst="line">
            <a:avLst/>
          </a:prstGeom>
          <a:noFill/>
          <a:ln w="19050" cap="flat" cmpd="sng" algn="ctr">
            <a:solidFill>
              <a:srgbClr val="082C6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25905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1" r:id="rId1"/>
    <p:sldLayoutId id="2147484512" r:id="rId2"/>
    <p:sldLayoutId id="2147484513" r:id="rId3"/>
    <p:sldLayoutId id="2147484514" r:id="rId4"/>
    <p:sldLayoutId id="2147484515" r:id="rId5"/>
    <p:sldLayoutId id="2147484516" r:id="rId6"/>
    <p:sldLayoutId id="2147484517" r:id="rId7"/>
    <p:sldLayoutId id="2147484518" r:id="rId8"/>
    <p:sldLayoutId id="2147484519" r:id="rId9"/>
    <p:sldLayoutId id="2147484520" r:id="rId10"/>
    <p:sldLayoutId id="2147484521" r:id="rId11"/>
    <p:sldLayoutId id="2147484522" r:id="rId12"/>
    <p:sldLayoutId id="2147484523" r:id="rId13"/>
    <p:sldLayoutId id="2147484524" r:id="rId14"/>
    <p:sldLayoutId id="2147484525" r:id="rId15"/>
    <p:sldLayoutId id="2147484526" r:id="rId16"/>
    <p:sldLayoutId id="2147484527" r:id="rId17"/>
    <p:sldLayoutId id="2147484528" r:id="rId18"/>
    <p:sldLayoutId id="2147484529" r:id="rId19"/>
    <p:sldLayoutId id="2147484530" r:id="rId20"/>
    <p:sldLayoutId id="2147484531" r:id="rId21"/>
    <p:sldLayoutId id="2147484532" r:id="rId22"/>
  </p:sldLayoutIdLst>
  <p:hf hdr="0" ftr="0" dt="0"/>
  <p:txStyles>
    <p:titleStyle>
      <a:lvl1pPr algn="l" defTabSz="1043056" rtl="0" eaLnBrk="1" latinLnBrk="0" hangingPunct="1">
        <a:lnSpc>
          <a:spcPct val="85000"/>
        </a:lnSpc>
        <a:spcBef>
          <a:spcPct val="0"/>
        </a:spcBef>
        <a:buNone/>
        <a:defRPr kumimoji="1" sz="3400" b="1" kern="1200" baseline="0">
          <a:solidFill>
            <a:schemeClr val="accent1"/>
          </a:solidFill>
          <a:latin typeface="EYInterstate" panose="02000503020000020004" pitchFamily="2" charset="0"/>
          <a:ea typeface="ＭＳ Ｐゴシック" panose="020B0600070205080204" pitchFamily="50" charset="-128"/>
          <a:cs typeface="Arial" pitchFamily="34" charset="0"/>
        </a:defRPr>
      </a:lvl1pPr>
    </p:titleStyle>
    <p:bodyStyle>
      <a:lvl1pPr marL="391146" indent="-391146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09456" indent="-40382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2300" kern="1200">
          <a:solidFill>
            <a:schemeClr val="tx2"/>
          </a:solidFill>
          <a:latin typeface="+mn-lt"/>
          <a:ea typeface="+mn-ea"/>
          <a:cs typeface="+mn-cs"/>
        </a:defRPr>
      </a:lvl2pPr>
      <a:lvl3pPr marL="1229575" indent="-40382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635208" indent="-40563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39030" indent="-40382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8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pos="443" userDrawn="1">
          <p15:clr>
            <a:srgbClr val="F26B43"/>
          </p15:clr>
        </p15:guide>
        <p15:guide id="8" pos="8025" userDrawn="1">
          <p15:clr>
            <a:srgbClr val="F26B43"/>
          </p15:clr>
        </p15:guide>
        <p15:guide id="11" orient="horz" pos="4423" userDrawn="1">
          <p15:clr>
            <a:srgbClr val="F26B43"/>
          </p15:clr>
        </p15:guide>
        <p15:guide id="20" orient="horz" pos="340" userDrawn="1">
          <p15:clr>
            <a:srgbClr val="F26B43"/>
          </p15:clr>
        </p15:guide>
        <p15:guide id="21" pos="4234" userDrawn="1">
          <p15:clr>
            <a:srgbClr val="F26B43"/>
          </p15:clr>
        </p15:guide>
        <p15:guide id="22" pos="3051" userDrawn="1">
          <p15:clr>
            <a:srgbClr val="F26B43"/>
          </p15:clr>
        </p15:guide>
        <p15:guide id="23" pos="5416" userDrawn="1">
          <p15:clr>
            <a:srgbClr val="F26B43"/>
          </p15:clr>
        </p15:guide>
        <p15:guide id="24" pos="5660" userDrawn="1">
          <p15:clr>
            <a:srgbClr val="F26B43"/>
          </p15:clr>
        </p15:guide>
        <p15:guide id="25" pos="2808" userDrawn="1">
          <p15:clr>
            <a:srgbClr val="F26B43"/>
          </p15:clr>
        </p15:guide>
        <p15:guide id="26" orient="horz" pos="998" userDrawn="1">
          <p15:clr>
            <a:srgbClr val="F26B43"/>
          </p15:clr>
        </p15:guide>
        <p15:guide id="27" orient="horz" pos="4559" userDrawn="1">
          <p15:clr>
            <a:srgbClr val="F26B43"/>
          </p15:clr>
        </p15:guide>
        <p15:guide id="28" orient="horz" pos="20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39195E1-2C1D-881C-4B0C-B7245E99B6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99094130"/>
              </p:ext>
            </p:extLst>
          </p:nvPr>
        </p:nvGraphicFramePr>
        <p:xfrm>
          <a:off x="1996" y="1588"/>
          <a:ext cx="199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1" imgW="592" imgH="591" progId="TCLayout.ActiveDocument.1">
                  <p:embed/>
                </p:oleObj>
              </mc:Choice>
              <mc:Fallback>
                <p:oleObj name="think-cell スライド" r:id="rId21" imgW="592" imgH="59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9195E1-2C1D-881C-4B0C-B7245E99B6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996" y="1588"/>
                        <a:ext cx="199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テキスト ボックス 7"/>
          <p:cNvSpPr txBox="1"/>
          <p:nvPr/>
        </p:nvSpPr>
        <p:spPr bwMode="auto">
          <a:xfrm>
            <a:off x="8239396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4.15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9" name="テキスト ボックス 8"/>
          <p:cNvSpPr txBox="1"/>
          <p:nvPr/>
        </p:nvSpPr>
        <p:spPr bwMode="auto">
          <a:xfrm>
            <a:off x="9017314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5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0" name="テキスト ボックス 9"/>
          <p:cNvSpPr txBox="1"/>
          <p:nvPr/>
        </p:nvSpPr>
        <p:spPr bwMode="auto">
          <a:xfrm>
            <a:off x="12792810" y="-202224"/>
            <a:ext cx="323807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13.3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1" name="テキスト ボックス 10"/>
          <p:cNvSpPr txBox="1"/>
          <p:nvPr/>
        </p:nvSpPr>
        <p:spPr bwMode="auto">
          <a:xfrm>
            <a:off x="6734248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0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2" name="テキスト ボックス 11"/>
          <p:cNvSpPr txBox="1"/>
          <p:nvPr/>
        </p:nvSpPr>
        <p:spPr bwMode="auto">
          <a:xfrm>
            <a:off x="4887838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4.15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3" name="テキスト ボックス 12"/>
          <p:cNvSpPr txBox="1"/>
          <p:nvPr/>
        </p:nvSpPr>
        <p:spPr bwMode="auto">
          <a:xfrm>
            <a:off x="4104730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5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4" name="テキスト ボックス 13"/>
          <p:cNvSpPr txBox="1"/>
          <p:nvPr/>
        </p:nvSpPr>
        <p:spPr bwMode="auto">
          <a:xfrm>
            <a:off x="239483" y="-202224"/>
            <a:ext cx="323807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13.3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5" name="テキスト ボックス 14"/>
          <p:cNvSpPr txBox="1"/>
          <p:nvPr userDrawn="1"/>
        </p:nvSpPr>
        <p:spPr bwMode="auto">
          <a:xfrm>
            <a:off x="-786488" y="-202224"/>
            <a:ext cx="468077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ja-JP" altLang="en-US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ガイドの値</a:t>
            </a:r>
          </a:p>
        </p:txBody>
      </p:sp>
      <p:sp>
        <p:nvSpPr>
          <p:cNvPr id="16" name="テキスト ボックス 15"/>
          <p:cNvSpPr txBox="1"/>
          <p:nvPr/>
        </p:nvSpPr>
        <p:spPr bwMode="auto">
          <a:xfrm>
            <a:off x="-546021" y="553332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23" name="テキスト ボックス 22"/>
          <p:cNvSpPr txBox="1"/>
          <p:nvPr/>
        </p:nvSpPr>
        <p:spPr bwMode="auto">
          <a:xfrm>
            <a:off x="-546021" y="7021970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6A4FF860-8FEE-4040-847E-95AB959CB394}"/>
              </a:ext>
            </a:extLst>
          </p:cNvPr>
          <p:cNvSpPr txBox="1"/>
          <p:nvPr/>
        </p:nvSpPr>
        <p:spPr bwMode="auto">
          <a:xfrm>
            <a:off x="-546021" y="1592740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6.1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80F7EF49-5185-4031-BD1B-0E8555C78BD3}"/>
              </a:ext>
            </a:extLst>
          </p:cNvPr>
          <p:cNvSpPr txBox="1"/>
          <p:nvPr/>
        </p:nvSpPr>
        <p:spPr bwMode="auto">
          <a:xfrm>
            <a:off x="-546021" y="323925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6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cxnSp>
        <p:nvCxnSpPr>
          <p:cNvPr id="18" name="直線コネクタ 17">
            <a:extLst>
              <a:ext uri="{FF2B5EF4-FFF2-40B4-BE49-F238E27FC236}">
                <a16:creationId xmlns:a16="http://schemas.microsoft.com/office/drawing/2014/main" id="{DA971C31-771C-4E16-A7E4-2454A33D205C}"/>
              </a:ext>
            </a:extLst>
          </p:cNvPr>
          <p:cNvCxnSpPr/>
          <p:nvPr/>
        </p:nvCxnSpPr>
        <p:spPr bwMode="auto">
          <a:xfrm>
            <a:off x="0" y="1260000"/>
            <a:ext cx="13441190" cy="0"/>
          </a:xfrm>
          <a:prstGeom prst="line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Text Box 13">
            <a:extLst>
              <a:ext uri="{FF2B5EF4-FFF2-40B4-BE49-F238E27FC236}">
                <a16:creationId xmlns:a16="http://schemas.microsoft.com/office/drawing/2014/main" id="{4001F2A1-9E41-4800-A58F-CD71FBEA2C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241547" y="7092631"/>
            <a:ext cx="498922" cy="1447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/>
          <a:lstStyle/>
          <a:p>
            <a:pPr marL="0" marR="0" lvl="0" indent="0" algn="r" defTabSz="9953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17C079-91D2-41EA-A70C-62ABED709FF5}" type="slidenum">
              <a:rPr kumimoji="0" lang="ja-JP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953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ja-JP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2A0AA2D7-6095-43BE-98CE-F2FBBA652BEF}"/>
              </a:ext>
            </a:extLst>
          </p:cNvPr>
          <p:cNvSpPr txBox="1"/>
          <p:nvPr/>
        </p:nvSpPr>
        <p:spPr bwMode="auto">
          <a:xfrm>
            <a:off x="-546021" y="723741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6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cxnSp>
        <p:nvCxnSpPr>
          <p:cNvPr id="40" name="直線コネクタ 39">
            <a:extLst>
              <a:ext uri="{FF2B5EF4-FFF2-40B4-BE49-F238E27FC236}">
                <a16:creationId xmlns:a16="http://schemas.microsoft.com/office/drawing/2014/main" id="{BC06DD5C-1AB3-4DDD-89AE-1477C70567A3}"/>
              </a:ext>
            </a:extLst>
          </p:cNvPr>
          <p:cNvCxnSpPr/>
          <p:nvPr/>
        </p:nvCxnSpPr>
        <p:spPr bwMode="auto">
          <a:xfrm>
            <a:off x="0" y="1260000"/>
            <a:ext cx="13441190" cy="0"/>
          </a:xfrm>
          <a:prstGeom prst="line">
            <a:avLst/>
          </a:prstGeom>
          <a:noFill/>
          <a:ln w="19050" cap="flat" cmpd="sng" algn="ctr">
            <a:solidFill>
              <a:srgbClr val="082C6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126988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4" r:id="rId1"/>
    <p:sldLayoutId id="2147484535" r:id="rId2"/>
    <p:sldLayoutId id="2147484536" r:id="rId3"/>
    <p:sldLayoutId id="2147484537" r:id="rId4"/>
    <p:sldLayoutId id="2147484538" r:id="rId5"/>
    <p:sldLayoutId id="2147484539" r:id="rId6"/>
    <p:sldLayoutId id="2147484540" r:id="rId7"/>
    <p:sldLayoutId id="2147484541" r:id="rId8"/>
    <p:sldLayoutId id="2147484542" r:id="rId9"/>
    <p:sldLayoutId id="2147484543" r:id="rId10"/>
    <p:sldLayoutId id="2147484544" r:id="rId11"/>
    <p:sldLayoutId id="2147484545" r:id="rId12"/>
    <p:sldLayoutId id="2147484546" r:id="rId13"/>
    <p:sldLayoutId id="2147484547" r:id="rId14"/>
    <p:sldLayoutId id="2147484548" r:id="rId15"/>
    <p:sldLayoutId id="2147484549" r:id="rId16"/>
    <p:sldLayoutId id="2147484550" r:id="rId17"/>
    <p:sldLayoutId id="2147484551" r:id="rId18"/>
  </p:sldLayoutIdLst>
  <p:hf hdr="0" ftr="0" dt="0"/>
  <p:txStyles>
    <p:titleStyle>
      <a:lvl1pPr algn="l" defTabSz="1043056" rtl="0" eaLnBrk="1" latinLnBrk="0" hangingPunct="1">
        <a:lnSpc>
          <a:spcPct val="85000"/>
        </a:lnSpc>
        <a:spcBef>
          <a:spcPct val="0"/>
        </a:spcBef>
        <a:buNone/>
        <a:defRPr kumimoji="1" sz="3400" b="1" kern="1200" baseline="0">
          <a:solidFill>
            <a:schemeClr val="accent1"/>
          </a:solidFill>
          <a:latin typeface="EYInterstate" panose="02000503020000020004" pitchFamily="2" charset="0"/>
          <a:ea typeface="ＭＳ Ｐゴシック" panose="020B0600070205080204" pitchFamily="50" charset="-128"/>
          <a:cs typeface="Arial" pitchFamily="34" charset="0"/>
        </a:defRPr>
      </a:lvl1pPr>
    </p:titleStyle>
    <p:bodyStyle>
      <a:lvl1pPr marL="391146" indent="-391146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09456" indent="-40382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2300" kern="1200">
          <a:solidFill>
            <a:schemeClr val="tx2"/>
          </a:solidFill>
          <a:latin typeface="+mn-lt"/>
          <a:ea typeface="+mn-ea"/>
          <a:cs typeface="+mn-cs"/>
        </a:defRPr>
      </a:lvl2pPr>
      <a:lvl3pPr marL="1229575" indent="-40382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635208" indent="-40563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39030" indent="-40382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8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pos="443" userDrawn="1">
          <p15:clr>
            <a:srgbClr val="F26B43"/>
          </p15:clr>
        </p15:guide>
        <p15:guide id="8" pos="8025" userDrawn="1">
          <p15:clr>
            <a:srgbClr val="F26B43"/>
          </p15:clr>
        </p15:guide>
        <p15:guide id="11" orient="horz" pos="4423" userDrawn="1">
          <p15:clr>
            <a:srgbClr val="F26B43"/>
          </p15:clr>
        </p15:guide>
        <p15:guide id="20" orient="horz" pos="340" userDrawn="1">
          <p15:clr>
            <a:srgbClr val="F26B43"/>
          </p15:clr>
        </p15:guide>
        <p15:guide id="21" pos="4234" userDrawn="1">
          <p15:clr>
            <a:srgbClr val="F26B43"/>
          </p15:clr>
        </p15:guide>
        <p15:guide id="22" pos="3051" userDrawn="1">
          <p15:clr>
            <a:srgbClr val="F26B43"/>
          </p15:clr>
        </p15:guide>
        <p15:guide id="23" pos="5416" userDrawn="1">
          <p15:clr>
            <a:srgbClr val="F26B43"/>
          </p15:clr>
        </p15:guide>
        <p15:guide id="24" pos="5660" userDrawn="1">
          <p15:clr>
            <a:srgbClr val="F26B43"/>
          </p15:clr>
        </p15:guide>
        <p15:guide id="25" pos="2808" userDrawn="1">
          <p15:clr>
            <a:srgbClr val="F26B43"/>
          </p15:clr>
        </p15:guide>
        <p15:guide id="26" orient="horz" pos="998" userDrawn="1">
          <p15:clr>
            <a:srgbClr val="F26B43"/>
          </p15:clr>
        </p15:guide>
        <p15:guide id="27" orient="horz" pos="4559" userDrawn="1">
          <p15:clr>
            <a:srgbClr val="F26B43"/>
          </p15:clr>
        </p15:guide>
        <p15:guide id="28" orient="horz" pos="2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>
            <a:extLst>
              <a:ext uri="{FF2B5EF4-FFF2-40B4-BE49-F238E27FC236}">
                <a16:creationId xmlns:a16="http://schemas.microsoft.com/office/drawing/2014/main" id="{E51612DC-BC64-4735-BC97-D32781E45893}"/>
              </a:ext>
            </a:extLst>
          </p:cNvPr>
          <p:cNvSpPr>
            <a:spLocks/>
          </p:cNvSpPr>
          <p:nvPr/>
        </p:nvSpPr>
        <p:spPr bwMode="gray">
          <a:xfrm>
            <a:off x="0" y="1"/>
            <a:ext cx="7344494" cy="517398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19 h 10000"/>
              <a:gd name="connsiteX3" fmla="*/ 0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10000" y="8019"/>
                </a:lnTo>
                <a:lnTo>
                  <a:pt x="0" y="10000"/>
                </a:lnTo>
                <a:lnTo>
                  <a:pt x="0" y="0"/>
                </a:lnTo>
                <a:close/>
              </a:path>
            </a:pathLst>
          </a:custGeom>
          <a:solidFill>
            <a:srgbClr val="57E188">
              <a:alpha val="90000"/>
            </a:srgbClr>
          </a:solidFill>
          <a:ln w="9525">
            <a:solidFill>
              <a:srgbClr val="67DD87"/>
            </a:solidFill>
            <a:round/>
            <a:headEnd/>
            <a:tailEnd/>
          </a:ln>
          <a:effectLst/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GB" sz="992">
              <a:solidFill>
                <a:schemeClr val="bg1"/>
              </a:solidFill>
            </a:endParaRPr>
          </a:p>
        </p:txBody>
      </p:sp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B993FE03-D04E-491B-B74A-2E172215A8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76363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92" imgH="591" progId="TCLayout.ActiveDocument.1">
                  <p:embed/>
                </p:oleObj>
              </mc:Choice>
              <mc:Fallback>
                <p:oleObj name="think-cell スライド" r:id="rId3" imgW="592" imgH="591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B993FE03-D04E-491B-B74A-2E172215A8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76363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2A9C930A-BFD2-4860-BC70-8FA73ADFE3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263" y="1172424"/>
            <a:ext cx="4807857" cy="411901"/>
          </a:xfrm>
        </p:spPr>
        <p:txBody>
          <a:bodyPr vert="horz">
            <a:normAutofit fontScale="90000"/>
          </a:bodyPr>
          <a:lstStyle/>
          <a:p>
            <a:r>
              <a:rPr lang="ja-JP" alt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rPr>
              <a:t>観光データ利活用に関して</a:t>
            </a:r>
            <a:br>
              <a:rPr lang="en-US" altLang="ja-JP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rPr>
            </a:br>
            <a:r>
              <a:rPr lang="en-US" altLang="ja-JP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rPr>
              <a:t>-</a:t>
            </a:r>
            <a:r>
              <a:rPr lang="ja-JP" alt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rPr>
              <a:t>現状把握実態ワークシート</a:t>
            </a:r>
            <a:r>
              <a:rPr lang="en-US" altLang="ja-JP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rPr>
              <a:t>-</a:t>
            </a:r>
            <a:endParaRPr lang="ja-JP" altLang="en-US" sz="2800" b="1" dirty="0">
              <a:solidFill>
                <a:schemeClr val="tx1">
                  <a:lumMod val="85000"/>
                  <a:lumOff val="15000"/>
                </a:schemeClr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767563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36899AE5-A66C-5A89-218F-E5DB24797663}"/>
              </a:ext>
            </a:extLst>
          </p:cNvPr>
          <p:cNvSpPr/>
          <p:nvPr/>
        </p:nvSpPr>
        <p:spPr>
          <a:xfrm>
            <a:off x="749787" y="562077"/>
            <a:ext cx="5971687" cy="4639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来訪国内観光客推移（〇〇県〇〇市）</a:t>
            </a: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25A6FD86-C589-C02A-BD57-98C6180DB847}"/>
              </a:ext>
            </a:extLst>
          </p:cNvPr>
          <p:cNvSpPr/>
          <p:nvPr/>
        </p:nvSpPr>
        <p:spPr>
          <a:xfrm>
            <a:off x="807698" y="1157465"/>
            <a:ext cx="2239386" cy="46393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58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（</a:t>
            </a:r>
            <a:r>
              <a:rPr lang="en-US" altLang="ja-JP" sz="1158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2022</a:t>
            </a:r>
            <a:r>
              <a:rPr lang="ja-JP" altLang="en-US" sz="1158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年）</a:t>
            </a:r>
            <a:endParaRPr lang="en-US" altLang="ja-JP" sz="1158" b="1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algn="ctr"/>
            <a:r>
              <a:rPr lang="ja-JP" altLang="en-US" sz="1158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〇人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3A9D56F2-7869-DD82-F7C7-8D2933DB79F2}"/>
              </a:ext>
            </a:extLst>
          </p:cNvPr>
          <p:cNvSpPr/>
          <p:nvPr/>
        </p:nvSpPr>
        <p:spPr>
          <a:xfrm>
            <a:off x="7004000" y="562077"/>
            <a:ext cx="5971687" cy="4639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544" b="1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来訪訪日</a:t>
            </a:r>
            <a:r>
              <a:rPr lang="ja-JP" altLang="en-US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外国人推移（観光・レジャー目的）（〇〇県）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EB34B4A3-AC60-8616-221E-3EAB4E1F5496}"/>
              </a:ext>
            </a:extLst>
          </p:cNvPr>
          <p:cNvSpPr/>
          <p:nvPr/>
        </p:nvSpPr>
        <p:spPr>
          <a:xfrm>
            <a:off x="749786" y="4545278"/>
            <a:ext cx="12225901" cy="4639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訪日外国人国籍別来訪人数</a:t>
            </a:r>
            <a:r>
              <a:rPr lang="ja-JP" altLang="en-US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（観光・レジャー目的）（〇〇県）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2D5DC6B5-CB32-C8DD-822E-D6EF967E63B5}"/>
              </a:ext>
            </a:extLst>
          </p:cNvPr>
          <p:cNvSpPr/>
          <p:nvPr/>
        </p:nvSpPr>
        <p:spPr>
          <a:xfrm>
            <a:off x="8624653" y="5719974"/>
            <a:ext cx="1377077" cy="333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323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41FC3F51-AD09-48E6-DDC9-FF01B4C7D675}"/>
              </a:ext>
            </a:extLst>
          </p:cNvPr>
          <p:cNvSpPr/>
          <p:nvPr/>
        </p:nvSpPr>
        <p:spPr>
          <a:xfrm>
            <a:off x="8624655" y="6281750"/>
            <a:ext cx="1377077" cy="333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323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C901E17D-82DC-BDF5-A9DD-C9A164FDF3C9}"/>
              </a:ext>
            </a:extLst>
          </p:cNvPr>
          <p:cNvSpPr/>
          <p:nvPr/>
        </p:nvSpPr>
        <p:spPr>
          <a:xfrm>
            <a:off x="8624655" y="6843526"/>
            <a:ext cx="1377077" cy="333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323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C4CCEE76-BE21-777D-5D6A-D523719E59E4}"/>
              </a:ext>
            </a:extLst>
          </p:cNvPr>
          <p:cNvSpPr/>
          <p:nvPr/>
        </p:nvSpPr>
        <p:spPr>
          <a:xfrm>
            <a:off x="5362374" y="5719974"/>
            <a:ext cx="1377077" cy="333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323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884C1543-1C36-2596-2152-6CC7B14B7E86}"/>
              </a:ext>
            </a:extLst>
          </p:cNvPr>
          <p:cNvSpPr/>
          <p:nvPr/>
        </p:nvSpPr>
        <p:spPr>
          <a:xfrm>
            <a:off x="5362373" y="6281750"/>
            <a:ext cx="1377077" cy="333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323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321FF300-F32D-4F0E-439A-20CBDA2874D9}"/>
              </a:ext>
            </a:extLst>
          </p:cNvPr>
          <p:cNvSpPr/>
          <p:nvPr/>
        </p:nvSpPr>
        <p:spPr>
          <a:xfrm>
            <a:off x="10108788" y="5719974"/>
            <a:ext cx="1133079" cy="333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544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8278DEA5-996E-B3A0-597B-46C1D30F8D4D}"/>
              </a:ext>
            </a:extLst>
          </p:cNvPr>
          <p:cNvSpPr/>
          <p:nvPr/>
        </p:nvSpPr>
        <p:spPr>
          <a:xfrm>
            <a:off x="10108789" y="6281750"/>
            <a:ext cx="1133079" cy="333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544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66AE6B4C-BF20-2B72-8461-051831CE2176}"/>
              </a:ext>
            </a:extLst>
          </p:cNvPr>
          <p:cNvSpPr/>
          <p:nvPr/>
        </p:nvSpPr>
        <p:spPr>
          <a:xfrm>
            <a:off x="10108789" y="6843526"/>
            <a:ext cx="1133079" cy="333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544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777DD349-9FA9-2A40-9CCC-B8E1220E427B}"/>
              </a:ext>
            </a:extLst>
          </p:cNvPr>
          <p:cNvSpPr/>
          <p:nvPr/>
        </p:nvSpPr>
        <p:spPr>
          <a:xfrm>
            <a:off x="6846509" y="5719974"/>
            <a:ext cx="1133079" cy="333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544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37A27BFD-FCFD-E78C-EF90-0ED8A2394426}"/>
              </a:ext>
            </a:extLst>
          </p:cNvPr>
          <p:cNvSpPr/>
          <p:nvPr/>
        </p:nvSpPr>
        <p:spPr>
          <a:xfrm>
            <a:off x="6846508" y="6281750"/>
            <a:ext cx="1133079" cy="333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544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83B78E4C-9C0A-1595-3EC6-4E26AD5C316A}"/>
              </a:ext>
            </a:extLst>
          </p:cNvPr>
          <p:cNvSpPr/>
          <p:nvPr/>
        </p:nvSpPr>
        <p:spPr>
          <a:xfrm>
            <a:off x="7640661" y="5185574"/>
            <a:ext cx="1133079" cy="333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76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TOP</a:t>
            </a:r>
            <a:r>
              <a:rPr lang="ja-JP" altLang="en-US" sz="176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５</a:t>
            </a: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0C20FADA-DCA6-9997-642D-6576478F5E9E}"/>
              </a:ext>
            </a:extLst>
          </p:cNvPr>
          <p:cNvSpPr/>
          <p:nvPr/>
        </p:nvSpPr>
        <p:spPr>
          <a:xfrm>
            <a:off x="8282790" y="5719974"/>
            <a:ext cx="332947" cy="333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544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３</a:t>
            </a: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EB0125A1-6040-784F-7047-F7F7D449973B}"/>
              </a:ext>
            </a:extLst>
          </p:cNvPr>
          <p:cNvSpPr/>
          <p:nvPr/>
        </p:nvSpPr>
        <p:spPr>
          <a:xfrm>
            <a:off x="8282791" y="6281750"/>
            <a:ext cx="332947" cy="333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544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４</a:t>
            </a: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BAE492B8-43E1-67EA-5DF8-72311D2E0746}"/>
              </a:ext>
            </a:extLst>
          </p:cNvPr>
          <p:cNvSpPr/>
          <p:nvPr/>
        </p:nvSpPr>
        <p:spPr>
          <a:xfrm>
            <a:off x="8282791" y="6843526"/>
            <a:ext cx="332947" cy="333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544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５</a:t>
            </a:r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15FA070A-8B50-A08E-A21B-0DFF7D343538}"/>
              </a:ext>
            </a:extLst>
          </p:cNvPr>
          <p:cNvSpPr/>
          <p:nvPr/>
        </p:nvSpPr>
        <p:spPr>
          <a:xfrm>
            <a:off x="5020511" y="5719974"/>
            <a:ext cx="332947" cy="333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544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１</a:t>
            </a: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285D6F50-5817-BA47-83BF-6A7D9506B199}"/>
              </a:ext>
            </a:extLst>
          </p:cNvPr>
          <p:cNvSpPr/>
          <p:nvPr/>
        </p:nvSpPr>
        <p:spPr>
          <a:xfrm>
            <a:off x="5020510" y="6281750"/>
            <a:ext cx="332947" cy="333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544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２</a:t>
            </a:r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6EEADB6F-96A6-4B3C-AD7F-C3EB19742DD3}"/>
              </a:ext>
            </a:extLst>
          </p:cNvPr>
          <p:cNvSpPr/>
          <p:nvPr/>
        </p:nvSpPr>
        <p:spPr>
          <a:xfrm>
            <a:off x="749787" y="1028616"/>
            <a:ext cx="5971687" cy="328803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544" b="1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8C20A1D5-8858-496F-A7C3-F07D4EB6E2E3}"/>
              </a:ext>
            </a:extLst>
          </p:cNvPr>
          <p:cNvSpPr/>
          <p:nvPr/>
        </p:nvSpPr>
        <p:spPr>
          <a:xfrm>
            <a:off x="7004000" y="1028616"/>
            <a:ext cx="5971687" cy="328803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544" b="1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814AD938-AA7C-4CEB-B5BE-527D88377478}"/>
              </a:ext>
            </a:extLst>
          </p:cNvPr>
          <p:cNvSpPr/>
          <p:nvPr/>
        </p:nvSpPr>
        <p:spPr>
          <a:xfrm>
            <a:off x="5362374" y="5439086"/>
            <a:ext cx="1377077" cy="333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050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国名</a:t>
            </a:r>
          </a:p>
        </p:txBody>
      </p: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368C7B2E-6406-4045-8A52-D0053C82EA6A}"/>
              </a:ext>
            </a:extLst>
          </p:cNvPr>
          <p:cNvSpPr/>
          <p:nvPr/>
        </p:nvSpPr>
        <p:spPr>
          <a:xfrm>
            <a:off x="6846509" y="5439086"/>
            <a:ext cx="1133079" cy="333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050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人数</a:t>
            </a:r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46C61476-8557-4D92-9138-AE08C48837BF}"/>
              </a:ext>
            </a:extLst>
          </p:cNvPr>
          <p:cNvSpPr/>
          <p:nvPr/>
        </p:nvSpPr>
        <p:spPr>
          <a:xfrm>
            <a:off x="8598041" y="5439086"/>
            <a:ext cx="1377077" cy="333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050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国名</a:t>
            </a: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2FF4EFC0-0440-49F0-8D71-84688045B940}"/>
              </a:ext>
            </a:extLst>
          </p:cNvPr>
          <p:cNvSpPr/>
          <p:nvPr/>
        </p:nvSpPr>
        <p:spPr>
          <a:xfrm>
            <a:off x="10082176" y="5439086"/>
            <a:ext cx="1133079" cy="333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050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人数</a:t>
            </a:r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E5B630AC-706F-4DB9-8504-A0D0EE9907FC}"/>
              </a:ext>
            </a:extLst>
          </p:cNvPr>
          <p:cNvSpPr/>
          <p:nvPr/>
        </p:nvSpPr>
        <p:spPr>
          <a:xfrm>
            <a:off x="749786" y="5017778"/>
            <a:ext cx="12225901" cy="239040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544" b="1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B079CC89-5D1D-4B08-AD15-18674BAD6D5B}"/>
              </a:ext>
            </a:extLst>
          </p:cNvPr>
          <p:cNvSpPr/>
          <p:nvPr/>
        </p:nvSpPr>
        <p:spPr>
          <a:xfrm>
            <a:off x="174574" y="98141"/>
            <a:ext cx="5971687" cy="463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ja-JP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Q.</a:t>
            </a:r>
            <a:r>
              <a:rPr lang="ja-JP" altLang="en-US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どの様な人（日本人・訪日外国人）が来ているのか？ </a:t>
            </a:r>
          </a:p>
        </p:txBody>
      </p:sp>
    </p:spTree>
    <p:extLst>
      <p:ext uri="{BB962C8B-B14F-4D97-AF65-F5344CB8AC3E}">
        <p14:creationId xmlns:p14="http://schemas.microsoft.com/office/powerpoint/2010/main" val="35412968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EB4FADA2-153A-CDC8-2690-8FA4C9051783}"/>
              </a:ext>
            </a:extLst>
          </p:cNvPr>
          <p:cNvSpPr/>
          <p:nvPr/>
        </p:nvSpPr>
        <p:spPr>
          <a:xfrm>
            <a:off x="608525" y="743130"/>
            <a:ext cx="12225901" cy="4639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04063" algn="ctr">
              <a:spcBef>
                <a:spcPts val="0"/>
              </a:spcBef>
              <a:spcAft>
                <a:spcPts val="0"/>
              </a:spcAft>
            </a:pPr>
            <a:r>
              <a:rPr lang="ja-JP" altLang="en-US" sz="1544" b="1" kern="100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Times New Roman" panose="02020603050405020304" pitchFamily="18" charset="0"/>
              </a:rPr>
              <a:t>国内観光客の</a:t>
            </a:r>
            <a:r>
              <a:rPr lang="ja-JP" altLang="ja-JP" sz="1544" b="1" kern="100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Times New Roman" panose="02020603050405020304" pitchFamily="18" charset="0"/>
              </a:rPr>
              <a:t>ピークシーズン・オフシーズンの把握</a:t>
            </a:r>
            <a:endParaRPr lang="ja-JP" altLang="ja-JP" sz="1213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C2A662C8-135E-F5C1-DAAE-282A62D870DD}"/>
              </a:ext>
            </a:extLst>
          </p:cNvPr>
          <p:cNvSpPr/>
          <p:nvPr/>
        </p:nvSpPr>
        <p:spPr>
          <a:xfrm>
            <a:off x="608525" y="3892541"/>
            <a:ext cx="12225901" cy="4639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04063" algn="ctr">
              <a:spcBef>
                <a:spcPts val="0"/>
              </a:spcBef>
              <a:spcAft>
                <a:spcPts val="0"/>
              </a:spcAft>
            </a:pPr>
            <a:r>
              <a:rPr lang="ja-JP" altLang="en-US" sz="1544" b="1" kern="100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Times New Roman" panose="02020603050405020304" pitchFamily="18" charset="0"/>
              </a:rPr>
              <a:t>訪日外国人の</a:t>
            </a:r>
            <a:r>
              <a:rPr lang="ja-JP" altLang="ja-JP" sz="1544" b="1" kern="100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Times New Roman" panose="02020603050405020304" pitchFamily="18" charset="0"/>
              </a:rPr>
              <a:t>ピークシーズン・オフシーズンの把握</a:t>
            </a:r>
            <a:endParaRPr lang="ja-JP" altLang="ja-JP" sz="1213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C151754F-BAE7-4460-84C1-C341EF7CB79C}"/>
              </a:ext>
            </a:extLst>
          </p:cNvPr>
          <p:cNvSpPr/>
          <p:nvPr/>
        </p:nvSpPr>
        <p:spPr>
          <a:xfrm>
            <a:off x="608525" y="1207065"/>
            <a:ext cx="12225901" cy="246165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04063" algn="ctr">
              <a:spcBef>
                <a:spcPts val="0"/>
              </a:spcBef>
              <a:spcAft>
                <a:spcPts val="0"/>
              </a:spcAft>
            </a:pPr>
            <a:endParaRPr lang="ja-JP" altLang="ja-JP" sz="1213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251DCB22-EECF-46A3-B80F-DA3E05AE1CF6}"/>
              </a:ext>
            </a:extLst>
          </p:cNvPr>
          <p:cNvSpPr/>
          <p:nvPr/>
        </p:nvSpPr>
        <p:spPr>
          <a:xfrm>
            <a:off x="608525" y="4356476"/>
            <a:ext cx="12225901" cy="246165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04063" algn="ctr">
              <a:spcBef>
                <a:spcPts val="0"/>
              </a:spcBef>
              <a:spcAft>
                <a:spcPts val="0"/>
              </a:spcAft>
            </a:pPr>
            <a:endParaRPr lang="ja-JP" altLang="ja-JP" sz="1213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572CC776-35FF-4D93-BE78-0C9101855F08}"/>
              </a:ext>
            </a:extLst>
          </p:cNvPr>
          <p:cNvSpPr/>
          <p:nvPr/>
        </p:nvSpPr>
        <p:spPr>
          <a:xfrm>
            <a:off x="174574" y="98141"/>
            <a:ext cx="5971687" cy="463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ja-JP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Q.</a:t>
            </a:r>
            <a:r>
              <a:rPr lang="ja-JP" altLang="en-US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いつ頃がシーズンピーク（日本人・訪日外国人）なのか？ </a:t>
            </a:r>
          </a:p>
        </p:txBody>
      </p:sp>
    </p:spTree>
    <p:extLst>
      <p:ext uri="{BB962C8B-B14F-4D97-AF65-F5344CB8AC3E}">
        <p14:creationId xmlns:p14="http://schemas.microsoft.com/office/powerpoint/2010/main" val="4569056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AA044DA0-7906-8E12-D30C-51D855798D34}"/>
              </a:ext>
            </a:extLst>
          </p:cNvPr>
          <p:cNvSpPr/>
          <p:nvPr/>
        </p:nvSpPr>
        <p:spPr>
          <a:xfrm>
            <a:off x="608525" y="494761"/>
            <a:ext cx="12225901" cy="4639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04063" algn="ctr">
              <a:spcBef>
                <a:spcPts val="0"/>
              </a:spcBef>
              <a:spcAft>
                <a:spcPts val="0"/>
              </a:spcAft>
            </a:pPr>
            <a:r>
              <a:rPr lang="ja-JP" altLang="en-US" sz="1544" b="1" kern="100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Times New Roman" panose="02020603050405020304" pitchFamily="18" charset="0"/>
              </a:rPr>
              <a:t>国内観光客の滞在人口</a:t>
            </a:r>
            <a:endParaRPr lang="ja-JP" altLang="ja-JP" sz="1213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05991D6A-E029-43D9-B5F5-D827FDB14737}"/>
              </a:ext>
            </a:extLst>
          </p:cNvPr>
          <p:cNvGrpSpPr/>
          <p:nvPr/>
        </p:nvGrpSpPr>
        <p:grpSpPr>
          <a:xfrm>
            <a:off x="6798367" y="1365609"/>
            <a:ext cx="5583553" cy="3107462"/>
            <a:chOff x="6798367" y="1365609"/>
            <a:chExt cx="5583553" cy="3107462"/>
          </a:xfrm>
        </p:grpSpPr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ACA1428E-FA0F-4815-AC89-E2ABA1FCFB8C}"/>
                </a:ext>
              </a:extLst>
            </p:cNvPr>
            <p:cNvSpPr/>
            <p:nvPr/>
          </p:nvSpPr>
          <p:spPr>
            <a:xfrm>
              <a:off x="6798367" y="1512252"/>
              <a:ext cx="5583553" cy="2960819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992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A9FB8CF4-5602-D427-7C74-AE9673C3C447}"/>
                </a:ext>
              </a:extLst>
            </p:cNvPr>
            <p:cNvSpPr/>
            <p:nvPr/>
          </p:nvSpPr>
          <p:spPr>
            <a:xfrm>
              <a:off x="8137464" y="1365609"/>
              <a:ext cx="2905358" cy="2932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400" b="1" dirty="0">
                  <a:solidFill>
                    <a:schemeClr val="accent4">
                      <a:lumMod val="25000"/>
                    </a:schemeClr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休日</a:t>
              </a:r>
            </a:p>
          </p:txBody>
        </p:sp>
      </p:grpSp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A469184D-D25C-4408-B990-A21D745F6C1D}"/>
              </a:ext>
            </a:extLst>
          </p:cNvPr>
          <p:cNvGrpSpPr/>
          <p:nvPr/>
        </p:nvGrpSpPr>
        <p:grpSpPr>
          <a:xfrm>
            <a:off x="1061030" y="1365609"/>
            <a:ext cx="5583553" cy="3107462"/>
            <a:chOff x="1061030" y="1365609"/>
            <a:chExt cx="5583553" cy="3107462"/>
          </a:xfrm>
        </p:grpSpPr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398729D9-9BDE-4598-B3AB-E50C8BBCDF9B}"/>
                </a:ext>
              </a:extLst>
            </p:cNvPr>
            <p:cNvSpPr/>
            <p:nvPr/>
          </p:nvSpPr>
          <p:spPr>
            <a:xfrm>
              <a:off x="1061030" y="1512252"/>
              <a:ext cx="5583553" cy="2960819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992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105BEDAE-C11F-5F50-FD4A-E44DCF28ADC8}"/>
                </a:ext>
              </a:extLst>
            </p:cNvPr>
            <p:cNvSpPr/>
            <p:nvPr/>
          </p:nvSpPr>
          <p:spPr>
            <a:xfrm>
              <a:off x="2400127" y="1365609"/>
              <a:ext cx="2905358" cy="2932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400" b="1" dirty="0">
                  <a:solidFill>
                    <a:schemeClr val="accent4">
                      <a:lumMod val="25000"/>
                    </a:schemeClr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平日</a:t>
              </a:r>
            </a:p>
          </p:txBody>
        </p:sp>
      </p:grp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CE41C886-575D-4055-8730-B3C96AF1E588}"/>
              </a:ext>
            </a:extLst>
          </p:cNvPr>
          <p:cNvSpPr/>
          <p:nvPr/>
        </p:nvSpPr>
        <p:spPr>
          <a:xfrm>
            <a:off x="2604600" y="4768022"/>
            <a:ext cx="8079966" cy="25869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992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E360CA4C-CE07-49EA-9714-0E230AF03290}"/>
              </a:ext>
            </a:extLst>
          </p:cNvPr>
          <p:cNvSpPr/>
          <p:nvPr/>
        </p:nvSpPr>
        <p:spPr>
          <a:xfrm>
            <a:off x="5191904" y="4619713"/>
            <a:ext cx="2905358" cy="29661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滞在人口の時間別推移</a:t>
            </a: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DB37DCEE-B0F9-4A9B-9AF3-72338C2B126B}"/>
              </a:ext>
            </a:extLst>
          </p:cNvPr>
          <p:cNvSpPr/>
          <p:nvPr/>
        </p:nvSpPr>
        <p:spPr>
          <a:xfrm>
            <a:off x="174574" y="98141"/>
            <a:ext cx="6623793" cy="463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ja-JP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Q.</a:t>
            </a:r>
            <a:r>
              <a:rPr lang="ja-JP" altLang="en-US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平日休日・時間帯別の滞在人口（日本人）はどれぐらいなのか？ </a:t>
            </a:r>
          </a:p>
        </p:txBody>
      </p:sp>
    </p:spTree>
    <p:extLst>
      <p:ext uri="{BB962C8B-B14F-4D97-AF65-F5344CB8AC3E}">
        <p14:creationId xmlns:p14="http://schemas.microsoft.com/office/powerpoint/2010/main" val="28398890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37971FA2-F361-EEE0-3424-DB20A30A32C7}"/>
              </a:ext>
            </a:extLst>
          </p:cNvPr>
          <p:cNvSpPr/>
          <p:nvPr/>
        </p:nvSpPr>
        <p:spPr>
          <a:xfrm>
            <a:off x="608525" y="494761"/>
            <a:ext cx="12225901" cy="4639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04063" algn="ctr">
              <a:spcBef>
                <a:spcPts val="0"/>
              </a:spcBef>
              <a:spcAft>
                <a:spcPts val="0"/>
              </a:spcAft>
            </a:pPr>
            <a:r>
              <a:rPr lang="ja-JP" altLang="en-US" sz="1544" b="1" kern="100" dirty="0">
                <a:solidFill>
                  <a:srgbClr val="262626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Times New Roman" panose="02020603050405020304" pitchFamily="18" charset="0"/>
              </a:rPr>
              <a:t>訪日外国人滞在人口</a:t>
            </a:r>
            <a:endParaRPr lang="ja-JP" altLang="ja-JP" sz="1213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87F420E8-2834-4A0C-8092-D6DF2959405F}"/>
              </a:ext>
            </a:extLst>
          </p:cNvPr>
          <p:cNvSpPr/>
          <p:nvPr/>
        </p:nvSpPr>
        <p:spPr>
          <a:xfrm>
            <a:off x="1111353" y="1354162"/>
            <a:ext cx="5488229" cy="279557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B4D5C9AE-8E06-47B6-89DB-08CEB7AEF3F3}"/>
              </a:ext>
            </a:extLst>
          </p:cNvPr>
          <p:cNvSpPr/>
          <p:nvPr/>
        </p:nvSpPr>
        <p:spPr>
          <a:xfrm>
            <a:off x="6915806" y="1354162"/>
            <a:ext cx="5488229" cy="279557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79ED8B9A-004F-4844-AC8A-493C30042B3B}"/>
              </a:ext>
            </a:extLst>
          </p:cNvPr>
          <p:cNvSpPr/>
          <p:nvPr/>
        </p:nvSpPr>
        <p:spPr>
          <a:xfrm>
            <a:off x="6915806" y="4602158"/>
            <a:ext cx="5488229" cy="279557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D2FF53A4-52AF-4210-8DDA-ACAF3D5CB716}"/>
              </a:ext>
            </a:extLst>
          </p:cNvPr>
          <p:cNvSpPr/>
          <p:nvPr/>
        </p:nvSpPr>
        <p:spPr>
          <a:xfrm>
            <a:off x="1111353" y="4602158"/>
            <a:ext cx="5488229" cy="279557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489A8339-AAED-B829-C871-D20EBB8F42E8}"/>
              </a:ext>
            </a:extLst>
          </p:cNvPr>
          <p:cNvSpPr/>
          <p:nvPr/>
        </p:nvSpPr>
        <p:spPr>
          <a:xfrm>
            <a:off x="2400128" y="1207519"/>
            <a:ext cx="2905358" cy="29328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昼間</a:t>
            </a:r>
            <a:r>
              <a:rPr lang="en-US" altLang="ja-JP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(10-18</a:t>
            </a:r>
            <a:r>
              <a:rPr lang="ja-JP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時</a:t>
            </a:r>
            <a:r>
              <a:rPr lang="en-US" altLang="ja-JP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)</a:t>
            </a:r>
            <a:endParaRPr lang="ja-JP" altLang="en-US" sz="1400" b="1" dirty="0">
              <a:solidFill>
                <a:schemeClr val="tx1">
                  <a:lumMod val="85000"/>
                  <a:lumOff val="1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ADB03B94-848D-D53B-2E32-7D1BC1B6210F}"/>
              </a:ext>
            </a:extLst>
          </p:cNvPr>
          <p:cNvSpPr/>
          <p:nvPr/>
        </p:nvSpPr>
        <p:spPr>
          <a:xfrm>
            <a:off x="8331079" y="1207519"/>
            <a:ext cx="2905358" cy="29328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夜間（</a:t>
            </a:r>
            <a:r>
              <a:rPr lang="en-US" altLang="ja-JP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2</a:t>
            </a:r>
            <a:r>
              <a:rPr lang="ja-JP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－</a:t>
            </a:r>
            <a:r>
              <a:rPr lang="en-US" altLang="ja-JP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5</a:t>
            </a:r>
            <a:r>
              <a:rPr lang="ja-JP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時）</a:t>
            </a: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737B7544-5FBA-45DC-B287-C20EEA59CF10}"/>
              </a:ext>
            </a:extLst>
          </p:cNvPr>
          <p:cNvSpPr/>
          <p:nvPr/>
        </p:nvSpPr>
        <p:spPr>
          <a:xfrm>
            <a:off x="2400128" y="4446741"/>
            <a:ext cx="2905358" cy="29328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昼間：地域別滞在者数の推移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17E2A84B-A959-4744-9B37-0CE56522A238}"/>
              </a:ext>
            </a:extLst>
          </p:cNvPr>
          <p:cNvSpPr/>
          <p:nvPr/>
        </p:nvSpPr>
        <p:spPr>
          <a:xfrm>
            <a:off x="8331079" y="4446741"/>
            <a:ext cx="2905358" cy="29328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夜間：地域別滞在者数の推移</a:t>
            </a: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167ECCEA-307A-451E-9CE4-B6D06FE39B25}"/>
              </a:ext>
            </a:extLst>
          </p:cNvPr>
          <p:cNvSpPr/>
          <p:nvPr/>
        </p:nvSpPr>
        <p:spPr>
          <a:xfrm>
            <a:off x="174574" y="98141"/>
            <a:ext cx="6741232" cy="463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ja-JP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Q.</a:t>
            </a:r>
            <a:r>
              <a:rPr lang="ja-JP" altLang="en-US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 時間帯別の滞在人口（訪日外国人）はどれぐらいなのか？ </a:t>
            </a:r>
          </a:p>
        </p:txBody>
      </p:sp>
    </p:spTree>
    <p:extLst>
      <p:ext uri="{BB962C8B-B14F-4D97-AF65-F5344CB8AC3E}">
        <p14:creationId xmlns:p14="http://schemas.microsoft.com/office/powerpoint/2010/main" val="27681475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37971FA2-F361-EEE0-3424-DB20A30A32C7}"/>
              </a:ext>
            </a:extLst>
          </p:cNvPr>
          <p:cNvSpPr/>
          <p:nvPr/>
        </p:nvSpPr>
        <p:spPr>
          <a:xfrm>
            <a:off x="608525" y="494761"/>
            <a:ext cx="12225901" cy="4639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544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地域住民人口</a:t>
            </a:r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95A536A2-9090-48D4-9649-3B6A7498913E}"/>
              </a:ext>
            </a:extLst>
          </p:cNvPr>
          <p:cNvGrpSpPr/>
          <p:nvPr/>
        </p:nvGrpSpPr>
        <p:grpSpPr>
          <a:xfrm>
            <a:off x="1424759" y="1201103"/>
            <a:ext cx="2905358" cy="949272"/>
            <a:chOff x="2400128" y="1207519"/>
            <a:chExt cx="2905358" cy="949272"/>
          </a:xfrm>
        </p:grpSpPr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87F420E8-2834-4A0C-8092-D6DF2959405F}"/>
                </a:ext>
              </a:extLst>
            </p:cNvPr>
            <p:cNvSpPr/>
            <p:nvPr/>
          </p:nvSpPr>
          <p:spPr>
            <a:xfrm>
              <a:off x="2400128" y="1354162"/>
              <a:ext cx="2905358" cy="802629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7" name="正方形/長方形 6">
              <a:extLst>
                <a:ext uri="{FF2B5EF4-FFF2-40B4-BE49-F238E27FC236}">
                  <a16:creationId xmlns:a16="http://schemas.microsoft.com/office/drawing/2014/main" id="{489A8339-AAED-B829-C871-D20EBB8F42E8}"/>
                </a:ext>
              </a:extLst>
            </p:cNvPr>
            <p:cNvSpPr/>
            <p:nvPr/>
          </p:nvSpPr>
          <p:spPr>
            <a:xfrm>
              <a:off x="3448878" y="1207519"/>
              <a:ext cx="807858" cy="2932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総数</a:t>
              </a:r>
            </a:p>
          </p:txBody>
        </p:sp>
      </p:grpSp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EA300982-EE0F-49E4-8CC5-5C2AD3013FF9}"/>
              </a:ext>
            </a:extLst>
          </p:cNvPr>
          <p:cNvGrpSpPr/>
          <p:nvPr/>
        </p:nvGrpSpPr>
        <p:grpSpPr>
          <a:xfrm>
            <a:off x="9365668" y="1207519"/>
            <a:ext cx="3468757" cy="2573112"/>
            <a:chOff x="8935278" y="1207519"/>
            <a:chExt cx="3468757" cy="2573112"/>
          </a:xfrm>
        </p:grpSpPr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B4D5C9AE-8E06-47B6-89DB-08CEB7AEF3F3}"/>
                </a:ext>
              </a:extLst>
            </p:cNvPr>
            <p:cNvSpPr/>
            <p:nvPr/>
          </p:nvSpPr>
          <p:spPr>
            <a:xfrm>
              <a:off x="8935278" y="1354162"/>
              <a:ext cx="3468757" cy="2426469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8" name="正方形/長方形 7">
              <a:extLst>
                <a:ext uri="{FF2B5EF4-FFF2-40B4-BE49-F238E27FC236}">
                  <a16:creationId xmlns:a16="http://schemas.microsoft.com/office/drawing/2014/main" id="{ADB03B94-848D-D53B-2E32-7D1BC1B6210F}"/>
                </a:ext>
              </a:extLst>
            </p:cNvPr>
            <p:cNvSpPr/>
            <p:nvPr/>
          </p:nvSpPr>
          <p:spPr>
            <a:xfrm>
              <a:off x="9751511" y="1207519"/>
              <a:ext cx="1836290" cy="2932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人口推移</a:t>
              </a:r>
            </a:p>
          </p:txBody>
        </p:sp>
      </p:grp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5E2DEF4A-C38A-4C59-B884-BBE0B1EAA464}"/>
              </a:ext>
            </a:extLst>
          </p:cNvPr>
          <p:cNvGrpSpPr/>
          <p:nvPr/>
        </p:nvGrpSpPr>
        <p:grpSpPr>
          <a:xfrm>
            <a:off x="5497842" y="1207519"/>
            <a:ext cx="3468757" cy="2573112"/>
            <a:chOff x="5422693" y="1207519"/>
            <a:chExt cx="3468757" cy="2573112"/>
          </a:xfrm>
        </p:grpSpPr>
        <p:sp>
          <p:nvSpPr>
            <p:cNvPr id="16" name="正方形/長方形 15">
              <a:extLst>
                <a:ext uri="{FF2B5EF4-FFF2-40B4-BE49-F238E27FC236}">
                  <a16:creationId xmlns:a16="http://schemas.microsoft.com/office/drawing/2014/main" id="{43631D36-6E73-4D1A-8BDF-2D6FB96E981E}"/>
                </a:ext>
              </a:extLst>
            </p:cNvPr>
            <p:cNvSpPr/>
            <p:nvPr/>
          </p:nvSpPr>
          <p:spPr>
            <a:xfrm>
              <a:off x="5422693" y="1354162"/>
              <a:ext cx="3468757" cy="2426469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17" name="正方形/長方形 16">
              <a:extLst>
                <a:ext uri="{FF2B5EF4-FFF2-40B4-BE49-F238E27FC236}">
                  <a16:creationId xmlns:a16="http://schemas.microsoft.com/office/drawing/2014/main" id="{787BF21B-C060-4DD8-BCE7-A4DA5B07BBA0}"/>
                </a:ext>
              </a:extLst>
            </p:cNvPr>
            <p:cNvSpPr/>
            <p:nvPr/>
          </p:nvSpPr>
          <p:spPr>
            <a:xfrm>
              <a:off x="6238926" y="1207519"/>
              <a:ext cx="1836290" cy="2932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人口ピラミッド</a:t>
              </a:r>
            </a:p>
          </p:txBody>
        </p:sp>
      </p:grpSp>
      <p:grpSp>
        <p:nvGrpSpPr>
          <p:cNvPr id="20" name="グループ化 19">
            <a:extLst>
              <a:ext uri="{FF2B5EF4-FFF2-40B4-BE49-F238E27FC236}">
                <a16:creationId xmlns:a16="http://schemas.microsoft.com/office/drawing/2014/main" id="{54F23E8D-DCB1-4E11-85A6-3F4CD0F0DE6F}"/>
              </a:ext>
            </a:extLst>
          </p:cNvPr>
          <p:cNvGrpSpPr/>
          <p:nvPr/>
        </p:nvGrpSpPr>
        <p:grpSpPr>
          <a:xfrm>
            <a:off x="608524" y="2326601"/>
            <a:ext cx="4490249" cy="1454030"/>
            <a:chOff x="2369014" y="1207519"/>
            <a:chExt cx="2936472" cy="1454030"/>
          </a:xfrm>
        </p:grpSpPr>
        <p:sp>
          <p:nvSpPr>
            <p:cNvPr id="21" name="正方形/長方形 20">
              <a:extLst>
                <a:ext uri="{FF2B5EF4-FFF2-40B4-BE49-F238E27FC236}">
                  <a16:creationId xmlns:a16="http://schemas.microsoft.com/office/drawing/2014/main" id="{9D1C1EBE-D4D3-4BCA-866C-35094A5EC583}"/>
                </a:ext>
              </a:extLst>
            </p:cNvPr>
            <p:cNvSpPr/>
            <p:nvPr/>
          </p:nvSpPr>
          <p:spPr>
            <a:xfrm>
              <a:off x="2369014" y="1354162"/>
              <a:ext cx="2936472" cy="1307387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22" name="正方形/長方形 21">
              <a:extLst>
                <a:ext uri="{FF2B5EF4-FFF2-40B4-BE49-F238E27FC236}">
                  <a16:creationId xmlns:a16="http://schemas.microsoft.com/office/drawing/2014/main" id="{DCC199EC-AABB-44F2-AF74-A6001C9E24AC}"/>
                </a:ext>
              </a:extLst>
            </p:cNvPr>
            <p:cNvSpPr/>
            <p:nvPr/>
          </p:nvSpPr>
          <p:spPr>
            <a:xfrm>
              <a:off x="3448878" y="1207519"/>
              <a:ext cx="807858" cy="2932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人口</a:t>
              </a:r>
            </a:p>
          </p:txBody>
        </p:sp>
      </p:grp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099490A3-6EE6-4CF8-8011-E542BE971EFA}"/>
              </a:ext>
            </a:extLst>
          </p:cNvPr>
          <p:cNvSpPr/>
          <p:nvPr/>
        </p:nvSpPr>
        <p:spPr>
          <a:xfrm>
            <a:off x="608525" y="4530047"/>
            <a:ext cx="12225901" cy="4639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544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地域交通機関の稼働状況</a:t>
            </a: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823C4537-16B3-494C-BA18-546C388499E6}"/>
              </a:ext>
            </a:extLst>
          </p:cNvPr>
          <p:cNvGrpSpPr/>
          <p:nvPr/>
        </p:nvGrpSpPr>
        <p:grpSpPr>
          <a:xfrm>
            <a:off x="608524" y="5297238"/>
            <a:ext cx="2755967" cy="1832558"/>
            <a:chOff x="739130" y="5575082"/>
            <a:chExt cx="2755967" cy="1832558"/>
          </a:xfrm>
        </p:grpSpPr>
        <p:sp>
          <p:nvSpPr>
            <p:cNvPr id="29" name="正方形/長方形 28">
              <a:extLst>
                <a:ext uri="{FF2B5EF4-FFF2-40B4-BE49-F238E27FC236}">
                  <a16:creationId xmlns:a16="http://schemas.microsoft.com/office/drawing/2014/main" id="{94CC4AC9-7042-409F-BACB-3D32A600A548}"/>
                </a:ext>
              </a:extLst>
            </p:cNvPr>
            <p:cNvSpPr/>
            <p:nvPr/>
          </p:nvSpPr>
          <p:spPr>
            <a:xfrm>
              <a:off x="739130" y="5721725"/>
              <a:ext cx="2755967" cy="1685915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30" name="正方形/長方形 29">
              <a:extLst>
                <a:ext uri="{FF2B5EF4-FFF2-40B4-BE49-F238E27FC236}">
                  <a16:creationId xmlns:a16="http://schemas.microsoft.com/office/drawing/2014/main" id="{569BC7FC-23A7-468B-A19F-2D4011B00F56}"/>
                </a:ext>
              </a:extLst>
            </p:cNvPr>
            <p:cNvSpPr/>
            <p:nvPr/>
          </p:nvSpPr>
          <p:spPr>
            <a:xfrm>
              <a:off x="1387637" y="5575082"/>
              <a:ext cx="1458953" cy="2932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電車</a:t>
              </a:r>
            </a:p>
          </p:txBody>
        </p:sp>
      </p:grpSp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FED264B0-83FE-4192-B0B4-2BCE658B6E95}"/>
              </a:ext>
            </a:extLst>
          </p:cNvPr>
          <p:cNvGrpSpPr/>
          <p:nvPr/>
        </p:nvGrpSpPr>
        <p:grpSpPr>
          <a:xfrm>
            <a:off x="3765169" y="5297238"/>
            <a:ext cx="2755967" cy="1832558"/>
            <a:chOff x="739130" y="5575082"/>
            <a:chExt cx="2755967" cy="1832558"/>
          </a:xfrm>
        </p:grpSpPr>
        <p:sp>
          <p:nvSpPr>
            <p:cNvPr id="32" name="正方形/長方形 31">
              <a:extLst>
                <a:ext uri="{FF2B5EF4-FFF2-40B4-BE49-F238E27FC236}">
                  <a16:creationId xmlns:a16="http://schemas.microsoft.com/office/drawing/2014/main" id="{BD128C9E-2841-41BB-A404-6E8198AB3EEB}"/>
                </a:ext>
              </a:extLst>
            </p:cNvPr>
            <p:cNvSpPr/>
            <p:nvPr/>
          </p:nvSpPr>
          <p:spPr>
            <a:xfrm>
              <a:off x="739130" y="5721725"/>
              <a:ext cx="2755967" cy="1685915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33" name="正方形/長方形 32">
              <a:extLst>
                <a:ext uri="{FF2B5EF4-FFF2-40B4-BE49-F238E27FC236}">
                  <a16:creationId xmlns:a16="http://schemas.microsoft.com/office/drawing/2014/main" id="{93092DF2-BBCA-4B3C-A1DC-18B97805202B}"/>
                </a:ext>
              </a:extLst>
            </p:cNvPr>
            <p:cNvSpPr/>
            <p:nvPr/>
          </p:nvSpPr>
          <p:spPr>
            <a:xfrm>
              <a:off x="1387637" y="5575082"/>
              <a:ext cx="1458953" cy="2932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バス</a:t>
              </a:r>
            </a:p>
          </p:txBody>
        </p:sp>
      </p:grpSp>
      <p:grpSp>
        <p:nvGrpSpPr>
          <p:cNvPr id="34" name="グループ化 33">
            <a:extLst>
              <a:ext uri="{FF2B5EF4-FFF2-40B4-BE49-F238E27FC236}">
                <a16:creationId xmlns:a16="http://schemas.microsoft.com/office/drawing/2014/main" id="{3C7E9BFD-374D-4D78-B4C4-33939C33981E}"/>
              </a:ext>
            </a:extLst>
          </p:cNvPr>
          <p:cNvGrpSpPr/>
          <p:nvPr/>
        </p:nvGrpSpPr>
        <p:grpSpPr>
          <a:xfrm>
            <a:off x="6921814" y="5297238"/>
            <a:ext cx="2755967" cy="1832558"/>
            <a:chOff x="739130" y="5575082"/>
            <a:chExt cx="2755967" cy="1832558"/>
          </a:xfrm>
        </p:grpSpPr>
        <p:sp>
          <p:nvSpPr>
            <p:cNvPr id="35" name="正方形/長方形 34">
              <a:extLst>
                <a:ext uri="{FF2B5EF4-FFF2-40B4-BE49-F238E27FC236}">
                  <a16:creationId xmlns:a16="http://schemas.microsoft.com/office/drawing/2014/main" id="{C3222AE8-B674-498E-8060-FB3ED192AED4}"/>
                </a:ext>
              </a:extLst>
            </p:cNvPr>
            <p:cNvSpPr/>
            <p:nvPr/>
          </p:nvSpPr>
          <p:spPr>
            <a:xfrm>
              <a:off x="739130" y="5721725"/>
              <a:ext cx="2755967" cy="1685915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36" name="正方形/長方形 35">
              <a:extLst>
                <a:ext uri="{FF2B5EF4-FFF2-40B4-BE49-F238E27FC236}">
                  <a16:creationId xmlns:a16="http://schemas.microsoft.com/office/drawing/2014/main" id="{EDC6751F-4826-491D-989A-EC26EA5BF63D}"/>
                </a:ext>
              </a:extLst>
            </p:cNvPr>
            <p:cNvSpPr/>
            <p:nvPr/>
          </p:nvSpPr>
          <p:spPr>
            <a:xfrm>
              <a:off x="1387637" y="5575082"/>
              <a:ext cx="1458953" cy="2932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タクシー</a:t>
              </a:r>
            </a:p>
          </p:txBody>
        </p:sp>
      </p:grpSp>
      <p:grpSp>
        <p:nvGrpSpPr>
          <p:cNvPr id="37" name="グループ化 36">
            <a:extLst>
              <a:ext uri="{FF2B5EF4-FFF2-40B4-BE49-F238E27FC236}">
                <a16:creationId xmlns:a16="http://schemas.microsoft.com/office/drawing/2014/main" id="{5847794F-4431-461B-BACC-E87956E603BE}"/>
              </a:ext>
            </a:extLst>
          </p:cNvPr>
          <p:cNvGrpSpPr/>
          <p:nvPr/>
        </p:nvGrpSpPr>
        <p:grpSpPr>
          <a:xfrm>
            <a:off x="10078458" y="5297238"/>
            <a:ext cx="2755967" cy="1832558"/>
            <a:chOff x="739130" y="5575082"/>
            <a:chExt cx="2755967" cy="1832558"/>
          </a:xfrm>
        </p:grpSpPr>
        <p:sp>
          <p:nvSpPr>
            <p:cNvPr id="38" name="正方形/長方形 37">
              <a:extLst>
                <a:ext uri="{FF2B5EF4-FFF2-40B4-BE49-F238E27FC236}">
                  <a16:creationId xmlns:a16="http://schemas.microsoft.com/office/drawing/2014/main" id="{B1B80C8B-7E5E-431C-A62B-4A83A188C5F4}"/>
                </a:ext>
              </a:extLst>
            </p:cNvPr>
            <p:cNvSpPr/>
            <p:nvPr/>
          </p:nvSpPr>
          <p:spPr>
            <a:xfrm>
              <a:off x="739130" y="5721725"/>
              <a:ext cx="2755967" cy="1685915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39" name="正方形/長方形 38">
              <a:extLst>
                <a:ext uri="{FF2B5EF4-FFF2-40B4-BE49-F238E27FC236}">
                  <a16:creationId xmlns:a16="http://schemas.microsoft.com/office/drawing/2014/main" id="{BDA6DA14-BC01-4AB5-872F-2AA872F4DEC5}"/>
                </a:ext>
              </a:extLst>
            </p:cNvPr>
            <p:cNvSpPr/>
            <p:nvPr/>
          </p:nvSpPr>
          <p:spPr>
            <a:xfrm>
              <a:off x="1387637" y="5575082"/>
              <a:ext cx="1458953" cy="2932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その他</a:t>
              </a:r>
            </a:p>
          </p:txBody>
        </p:sp>
      </p:grp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F2E57169-BD6B-45D5-B196-E870B231B9A7}"/>
              </a:ext>
            </a:extLst>
          </p:cNvPr>
          <p:cNvSpPr/>
          <p:nvPr/>
        </p:nvSpPr>
        <p:spPr>
          <a:xfrm>
            <a:off x="174574" y="98141"/>
            <a:ext cx="5971687" cy="463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ja-JP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Q.</a:t>
            </a:r>
            <a:r>
              <a:rPr lang="ja-JP" altLang="en-US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地域住民はどれぐらいいるのか？ </a:t>
            </a: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132B650B-8AAB-4FAB-BAF6-1F2459BDA650}"/>
              </a:ext>
            </a:extLst>
          </p:cNvPr>
          <p:cNvSpPr/>
          <p:nvPr/>
        </p:nvSpPr>
        <p:spPr>
          <a:xfrm>
            <a:off x="174574" y="4146452"/>
            <a:ext cx="5971687" cy="463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ja-JP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Q.</a:t>
            </a:r>
            <a:r>
              <a:rPr lang="ja-JP" altLang="en-US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地域の交通機関はどれぐらい稼働しているのか？ </a:t>
            </a:r>
          </a:p>
        </p:txBody>
      </p:sp>
    </p:spTree>
    <p:extLst>
      <p:ext uri="{BB962C8B-B14F-4D97-AF65-F5344CB8AC3E}">
        <p14:creationId xmlns:p14="http://schemas.microsoft.com/office/powerpoint/2010/main" val="36153172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OMLAYOUT" val="F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sulting Template-1a Proposal v2.2">
  <a:themeElements>
    <a:clrScheme name="Consulting (White) v2">
      <a:dk1>
        <a:srgbClr val="2E2E38"/>
      </a:dk1>
      <a:lt1>
        <a:srgbClr val="FFFFFF"/>
      </a:lt1>
      <a:dk2>
        <a:srgbClr val="2E2E38"/>
      </a:dk2>
      <a:lt2>
        <a:srgbClr val="FFE600"/>
      </a:lt2>
      <a:accent1>
        <a:srgbClr val="747480"/>
      </a:accent1>
      <a:accent2>
        <a:srgbClr val="FFE600"/>
      </a:accent2>
      <a:accent3>
        <a:srgbClr val="C4C4CD"/>
      </a:accent3>
      <a:accent4>
        <a:srgbClr val="ECECED"/>
      </a:accent4>
      <a:accent5>
        <a:srgbClr val="000000"/>
      </a:accent5>
      <a:accent6>
        <a:srgbClr val="F6F6FA"/>
      </a:accent6>
      <a:hlink>
        <a:srgbClr val="155CB4"/>
      </a:hlink>
      <a:folHlink>
        <a:srgbClr val="155CB4"/>
      </a:folHlink>
    </a:clrScheme>
    <a:fontScheme name="EY Consulting Font">
      <a:majorFont>
        <a:latin typeface="EYInterstate"/>
        <a:ea typeface="Meiryo UI"/>
        <a:cs typeface=""/>
      </a:majorFont>
      <a:minorFont>
        <a:latin typeface="EYInterstate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9525"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Clr>
            <a:schemeClr val="accent1"/>
          </a:buClr>
          <a:defRPr kumimoji="1" sz="12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08000" tIns="72000" rIns="108000" bIns="72000" rtlCol="0" anchor="t">
        <a:noAutofit/>
      </a:bodyPr>
      <a:lstStyle>
        <a:defPPr marL="174625" indent="-174625" algn="l" defTabSz="1043056" fontAlgn="auto">
          <a:spcBef>
            <a:spcPts val="0"/>
          </a:spcBef>
          <a:spcAft>
            <a:spcPts val="600"/>
          </a:spcAft>
          <a:buClr>
            <a:srgbClr val="747480"/>
          </a:buClr>
          <a:buFont typeface="EYInterstate" panose="02000503020000020004" pitchFamily="2" charset="0"/>
          <a:buChar char="•"/>
          <a:defRPr kumimoji="1" sz="1400" dirty="0" smtClean="0">
            <a:solidFill>
              <a:srgbClr val="2E2E38"/>
            </a:solidFill>
            <a:latin typeface="+mn-lt"/>
            <a:ea typeface="+mn-ea"/>
          </a:defRPr>
        </a:defPPr>
      </a:lstStyle>
    </a:txDef>
  </a:objectDefaults>
  <a:extraClrSchemeLst/>
  <a:custClrLst>
    <a:custClr name="Maroon_01">
      <a:srgbClr val="C981B2"/>
    </a:custClr>
    <a:custClr name="Red_01">
      <a:srgbClr val="FF9A91"/>
    </a:custClr>
    <a:custClr name="Orange_01">
      <a:srgbClr val="FFB46A"/>
    </a:custClr>
    <a:custClr name="Green_01">
      <a:srgbClr val="8CE8AD"/>
    </a:custClr>
    <a:custClr name="Teal_01">
      <a:srgbClr val="93F0E6"/>
    </a:custClr>
    <a:custClr name="Blue_01">
      <a:srgbClr val="87D3F2"/>
    </a:custClr>
    <a:custClr name="Purple_01">
      <a:srgbClr val="9C82D4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2">
      <a:srgbClr val="B14891"/>
    </a:custClr>
    <a:custClr name="Red_02">
      <a:srgbClr val="FF736A"/>
    </a:custClr>
    <a:custClr name="Orange_02">
      <a:srgbClr val="FF9831"/>
    </a:custClr>
    <a:custClr name="Green_02">
      <a:srgbClr val="57E188"/>
    </a:custClr>
    <a:custClr name="Teal_02">
      <a:srgbClr val="60E6E1"/>
    </a:custClr>
    <a:custClr name="Blue_02">
      <a:srgbClr val="4EBEEB"/>
    </a:custClr>
    <a:custClr name="Purple_02">
      <a:srgbClr val="724BC3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4">
      <a:srgbClr val="750E5C"/>
    </a:custClr>
    <a:custClr name="Red_04">
      <a:srgbClr val="FF4136"/>
    </a:custClr>
    <a:custClr name="Orange_04">
      <a:srgbClr val="FF6D00"/>
    </a:custClr>
    <a:custClr name="Green_04">
      <a:srgbClr val="2DB757"/>
    </a:custClr>
    <a:custClr name="Teal_04">
      <a:srgbClr val="27ACAA"/>
    </a:custClr>
    <a:custClr name="Blue_04">
      <a:srgbClr val="188CE5"/>
    </a:custClr>
    <a:custClr name="Purple_04">
      <a:srgbClr val="3D108A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6">
      <a:srgbClr val="42152D"/>
    </a:custClr>
    <a:custClr name="Red_06">
      <a:srgbClr val="B9251C"/>
    </a:custClr>
    <a:custClr name="Orange_06">
      <a:srgbClr val="EB4F00"/>
    </a:custClr>
    <a:custClr name="Green_06">
      <a:srgbClr val="168756"/>
    </a:custClr>
    <a:custClr name="Teal_06">
      <a:srgbClr val="0D7575"/>
    </a:custClr>
    <a:custClr name="Blue_06">
      <a:srgbClr val="155CB4"/>
    </a:custClr>
    <a:custClr name="Purple_06">
      <a:srgbClr val="0A095A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7">
      <a:srgbClr val="351C21"/>
    </a:custClr>
    <a:custClr name="Red_07">
      <a:srgbClr val="7A130D"/>
    </a:custClr>
    <a:custClr name="Orange_07">
      <a:srgbClr val="BC2F00"/>
    </a:custClr>
    <a:custClr name="Green_07">
      <a:srgbClr val="13652A"/>
    </a:custClr>
    <a:custClr name="Teal_07">
      <a:srgbClr val="004F4F"/>
    </a:custClr>
    <a:custClr name="Blue_07">
      <a:srgbClr val="082C65"/>
    </a:custClr>
    <a:custClr name="Purple_07">
      <a:srgbClr val="15173E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プレゼンテーション7" id="{0703C871-BDE8-4683-A123-D3C741EFB827}" vid="{D6D64E75-F6D9-413A-A7E8-4BACDE1CF7E3}"/>
    </a:ext>
  </a:extLst>
</a:theme>
</file>

<file path=ppt/theme/theme2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bg1">
              <a:lumMod val="85000"/>
            </a:schemeClr>
          </a:solidFill>
        </a:ln>
      </a:spPr>
      <a:bodyPr rtlCol="0" anchor="ctr"/>
      <a:lstStyle>
        <a:defPPr algn="ctr">
          <a:lnSpc>
            <a:spcPct val="125000"/>
          </a:lnSpc>
          <a:defRPr kumimoji="1" sz="1600" b="1" dirty="0" smtClean="0">
            <a:solidFill>
              <a:schemeClr val="tx1">
                <a:lumMod val="85000"/>
                <a:lumOff val="15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nsulting Template-2a Presentation (White) v1.6">
  <a:themeElements>
    <a:clrScheme name="EY Color (White)">
      <a:dk1>
        <a:srgbClr val="2E2E38"/>
      </a:dk1>
      <a:lt1>
        <a:srgbClr val="FFFFFF"/>
      </a:lt1>
      <a:dk2>
        <a:srgbClr val="2E2E38"/>
      </a:dk2>
      <a:lt2>
        <a:srgbClr val="FFE600"/>
      </a:lt2>
      <a:accent1>
        <a:srgbClr val="747480"/>
      </a:accent1>
      <a:accent2>
        <a:srgbClr val="FFE600"/>
      </a:accent2>
      <a:accent3>
        <a:srgbClr val="C4C4CD"/>
      </a:accent3>
      <a:accent4>
        <a:srgbClr val="DDDDDD"/>
      </a:accent4>
      <a:accent5>
        <a:srgbClr val="000000"/>
      </a:accent5>
      <a:accent6>
        <a:srgbClr val="F6F6FA"/>
      </a:accent6>
      <a:hlink>
        <a:srgbClr val="155CB4"/>
      </a:hlink>
      <a:folHlink>
        <a:srgbClr val="155CB4"/>
      </a:folHlink>
    </a:clrScheme>
    <a:fontScheme name="EY Consulting Font">
      <a:majorFont>
        <a:latin typeface="EYInterstate"/>
        <a:ea typeface="Meiryo UI"/>
        <a:cs typeface=""/>
      </a:majorFont>
      <a:minorFont>
        <a:latin typeface="EYInterstate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Clr>
            <a:schemeClr val="accent1"/>
          </a:buClr>
          <a:defRPr kumimoji="1" sz="12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>
        <a:noAutofit/>
      </a:bodyPr>
      <a:lstStyle>
        <a:defPPr marL="174625" indent="-174625" algn="l" defTabSz="1043056" fontAlgn="auto">
          <a:spcBef>
            <a:spcPts val="0"/>
          </a:spcBef>
          <a:spcAft>
            <a:spcPts val="600"/>
          </a:spcAft>
          <a:buClr>
            <a:srgbClr val="747480"/>
          </a:buClr>
          <a:buFont typeface="EYInterstate" panose="02000503020000020004" pitchFamily="2" charset="0"/>
          <a:buChar char="•"/>
          <a:defRPr kumimoji="1" sz="1400" dirty="0" smtClean="0">
            <a:solidFill>
              <a:srgbClr val="2E2E38"/>
            </a:solidFill>
            <a:latin typeface="+mn-lt"/>
            <a:ea typeface="+mn-ea"/>
          </a:defRPr>
        </a:defPPr>
      </a:lstStyle>
    </a:txDef>
  </a:objectDefaults>
  <a:extraClrSchemeLst/>
  <a:custClrLst>
    <a:custClr name="Maroon_01">
      <a:srgbClr val="C981B2"/>
    </a:custClr>
    <a:custClr name="Red_01">
      <a:srgbClr val="FF9A91"/>
    </a:custClr>
    <a:custClr name="Orange_01">
      <a:srgbClr val="FFB46A"/>
    </a:custClr>
    <a:custClr name="Green_01">
      <a:srgbClr val="8CE8AD"/>
    </a:custClr>
    <a:custClr name="Teal_01">
      <a:srgbClr val="93F0E6"/>
    </a:custClr>
    <a:custClr name="Blue_01">
      <a:srgbClr val="87D3F2"/>
    </a:custClr>
    <a:custClr name="Purple_01">
      <a:srgbClr val="9C82D4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2">
      <a:srgbClr val="B14891"/>
    </a:custClr>
    <a:custClr name="Red_02">
      <a:srgbClr val="FF736A"/>
    </a:custClr>
    <a:custClr name="Orange_02">
      <a:srgbClr val="FF9831"/>
    </a:custClr>
    <a:custClr name="Green_02">
      <a:srgbClr val="57E188"/>
    </a:custClr>
    <a:custClr name="Teal_02">
      <a:srgbClr val="60E6E1"/>
    </a:custClr>
    <a:custClr name="Blue_02">
      <a:srgbClr val="4EBEEB"/>
    </a:custClr>
    <a:custClr name="Purple_02">
      <a:srgbClr val="724BC3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4">
      <a:srgbClr val="750E5C"/>
    </a:custClr>
    <a:custClr name="Red_04">
      <a:srgbClr val="FF4136"/>
    </a:custClr>
    <a:custClr name="Orange_04">
      <a:srgbClr val="FF6D00"/>
    </a:custClr>
    <a:custClr name="Green_04">
      <a:srgbClr val="2DB757"/>
    </a:custClr>
    <a:custClr name="Teal_04">
      <a:srgbClr val="27ACAA"/>
    </a:custClr>
    <a:custClr name="Blue_04">
      <a:srgbClr val="188CE5"/>
    </a:custClr>
    <a:custClr name="Purple_04">
      <a:srgbClr val="3D108A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6">
      <a:srgbClr val="42152D"/>
    </a:custClr>
    <a:custClr name="Red_06">
      <a:srgbClr val="B9251C"/>
    </a:custClr>
    <a:custClr name="Orange_06">
      <a:srgbClr val="EB4F00"/>
    </a:custClr>
    <a:custClr name="Green_06">
      <a:srgbClr val="168756"/>
    </a:custClr>
    <a:custClr name="Teal_06">
      <a:srgbClr val="0D7575"/>
    </a:custClr>
    <a:custClr name="Blue_06">
      <a:srgbClr val="155CB4"/>
    </a:custClr>
    <a:custClr name="Purple_06">
      <a:srgbClr val="0A095A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7">
      <a:srgbClr val="351C21"/>
    </a:custClr>
    <a:custClr name="Red_07">
      <a:srgbClr val="7A130D"/>
    </a:custClr>
    <a:custClr name="Orange_07">
      <a:srgbClr val="BC2F00"/>
    </a:custClr>
    <a:custClr name="Green_07">
      <a:srgbClr val="13652A"/>
    </a:custClr>
    <a:custClr name="Teal_07">
      <a:srgbClr val="004F4F"/>
    </a:custClr>
    <a:custClr name="Blue_07">
      <a:srgbClr val="082C65"/>
    </a:custClr>
    <a:custClr name="Purple_07">
      <a:srgbClr val="15173E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Consulting Template-2a Presentation Widescreen JPN 20220119 (v1.6).pptx" id="{8CEDB602-119E-4177-BE22-E60750C807D2}" vid="{F4338C35-2D38-4348-82BD-89FDEDBEDF16}"/>
    </a:ext>
  </a:extLst>
</a:theme>
</file>

<file path=ppt/theme/theme4.xml><?xml version="1.0" encoding="utf-8"?>
<a:theme xmlns:a="http://schemas.openxmlformats.org/drawingml/2006/main" name="1_Consulting Template-1a Proposal v2.2">
  <a:themeElements>
    <a:clrScheme name="Consulting (White) v2">
      <a:dk1>
        <a:srgbClr val="2E2E38"/>
      </a:dk1>
      <a:lt1>
        <a:srgbClr val="FFFFFF"/>
      </a:lt1>
      <a:dk2>
        <a:srgbClr val="2E2E38"/>
      </a:dk2>
      <a:lt2>
        <a:srgbClr val="FFE600"/>
      </a:lt2>
      <a:accent1>
        <a:srgbClr val="747480"/>
      </a:accent1>
      <a:accent2>
        <a:srgbClr val="FFE600"/>
      </a:accent2>
      <a:accent3>
        <a:srgbClr val="C4C4CD"/>
      </a:accent3>
      <a:accent4>
        <a:srgbClr val="ECECED"/>
      </a:accent4>
      <a:accent5>
        <a:srgbClr val="000000"/>
      </a:accent5>
      <a:accent6>
        <a:srgbClr val="F6F6FA"/>
      </a:accent6>
      <a:hlink>
        <a:srgbClr val="155CB4"/>
      </a:hlink>
      <a:folHlink>
        <a:srgbClr val="155CB4"/>
      </a:folHlink>
    </a:clrScheme>
    <a:fontScheme name="EY Consulting Font">
      <a:majorFont>
        <a:latin typeface="EYInterstate"/>
        <a:ea typeface="Meiryo UI"/>
        <a:cs typeface=""/>
      </a:majorFont>
      <a:minorFont>
        <a:latin typeface="EYInterstate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9525"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Clr>
            <a:schemeClr val="accent1"/>
          </a:buClr>
          <a:defRPr kumimoji="1" sz="12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08000" tIns="72000" rIns="108000" bIns="72000" rtlCol="0" anchor="t">
        <a:noAutofit/>
      </a:bodyPr>
      <a:lstStyle>
        <a:defPPr marL="174625" indent="-174625" algn="l" defTabSz="1043056" fontAlgn="auto">
          <a:spcBef>
            <a:spcPts val="0"/>
          </a:spcBef>
          <a:spcAft>
            <a:spcPts val="600"/>
          </a:spcAft>
          <a:buClr>
            <a:srgbClr val="747480"/>
          </a:buClr>
          <a:buFont typeface="EYInterstate" panose="02000503020000020004" pitchFamily="2" charset="0"/>
          <a:buChar char="•"/>
          <a:defRPr kumimoji="1" sz="1400" dirty="0" smtClean="0">
            <a:solidFill>
              <a:srgbClr val="2E2E38"/>
            </a:solidFill>
            <a:latin typeface="+mn-lt"/>
            <a:ea typeface="+mn-ea"/>
          </a:defRPr>
        </a:defPPr>
      </a:lstStyle>
    </a:txDef>
  </a:objectDefaults>
  <a:extraClrSchemeLst/>
  <a:custClrLst>
    <a:custClr name="Maroon_01">
      <a:srgbClr val="C981B2"/>
    </a:custClr>
    <a:custClr name="Red_01">
      <a:srgbClr val="FF9A91"/>
    </a:custClr>
    <a:custClr name="Orange_01">
      <a:srgbClr val="FFB46A"/>
    </a:custClr>
    <a:custClr name="Green_01">
      <a:srgbClr val="8CE8AD"/>
    </a:custClr>
    <a:custClr name="Teal_01">
      <a:srgbClr val="93F0E6"/>
    </a:custClr>
    <a:custClr name="Blue_01">
      <a:srgbClr val="87D3F2"/>
    </a:custClr>
    <a:custClr name="Purple_01">
      <a:srgbClr val="9C82D4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2">
      <a:srgbClr val="B14891"/>
    </a:custClr>
    <a:custClr name="Red_02">
      <a:srgbClr val="FF736A"/>
    </a:custClr>
    <a:custClr name="Orange_02">
      <a:srgbClr val="FF9831"/>
    </a:custClr>
    <a:custClr name="Green_02">
      <a:srgbClr val="57E188"/>
    </a:custClr>
    <a:custClr name="Teal_02">
      <a:srgbClr val="60E6E1"/>
    </a:custClr>
    <a:custClr name="Blue_02">
      <a:srgbClr val="4EBEEB"/>
    </a:custClr>
    <a:custClr name="Purple_02">
      <a:srgbClr val="724BC3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4">
      <a:srgbClr val="750E5C"/>
    </a:custClr>
    <a:custClr name="Red_04">
      <a:srgbClr val="FF4136"/>
    </a:custClr>
    <a:custClr name="Orange_04">
      <a:srgbClr val="FF6D00"/>
    </a:custClr>
    <a:custClr name="Green_04">
      <a:srgbClr val="2DB757"/>
    </a:custClr>
    <a:custClr name="Teal_04">
      <a:srgbClr val="27ACAA"/>
    </a:custClr>
    <a:custClr name="Blue_04">
      <a:srgbClr val="188CE5"/>
    </a:custClr>
    <a:custClr name="Purple_04">
      <a:srgbClr val="3D108A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6">
      <a:srgbClr val="42152D"/>
    </a:custClr>
    <a:custClr name="Red_06">
      <a:srgbClr val="B9251C"/>
    </a:custClr>
    <a:custClr name="Orange_06">
      <a:srgbClr val="EB4F00"/>
    </a:custClr>
    <a:custClr name="Green_06">
      <a:srgbClr val="168756"/>
    </a:custClr>
    <a:custClr name="Teal_06">
      <a:srgbClr val="0D7575"/>
    </a:custClr>
    <a:custClr name="Blue_06">
      <a:srgbClr val="155CB4"/>
    </a:custClr>
    <a:custClr name="Purple_06">
      <a:srgbClr val="0A095A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7">
      <a:srgbClr val="351C21"/>
    </a:custClr>
    <a:custClr name="Red_07">
      <a:srgbClr val="7A130D"/>
    </a:custClr>
    <a:custClr name="Orange_07">
      <a:srgbClr val="BC2F00"/>
    </a:custClr>
    <a:custClr name="Green_07">
      <a:srgbClr val="13652A"/>
    </a:custClr>
    <a:custClr name="Teal_07">
      <a:srgbClr val="004F4F"/>
    </a:custClr>
    <a:custClr name="Blue_07">
      <a:srgbClr val="082C65"/>
    </a:custClr>
    <a:custClr name="Purple_07">
      <a:srgbClr val="15173E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プレゼンテーション7" id="{0703C871-BDE8-4683-A123-D3C741EFB827}" vid="{D6D64E75-F6D9-413A-A7E8-4BACDE1CF7E3}"/>
    </a:ext>
  </a:extLst>
</a:theme>
</file>

<file path=ppt/theme/theme5.xml><?xml version="1.0" encoding="utf-8"?>
<a:theme xmlns:a="http://schemas.openxmlformats.org/drawingml/2006/main" name="Consulting Template-1a Proposal v2.3">
  <a:themeElements>
    <a:clrScheme name="Consulting (White) v2">
      <a:dk1>
        <a:srgbClr val="2E2E38"/>
      </a:dk1>
      <a:lt1>
        <a:srgbClr val="FFFFFF"/>
      </a:lt1>
      <a:dk2>
        <a:srgbClr val="2E2E38"/>
      </a:dk2>
      <a:lt2>
        <a:srgbClr val="FFE600"/>
      </a:lt2>
      <a:accent1>
        <a:srgbClr val="747480"/>
      </a:accent1>
      <a:accent2>
        <a:srgbClr val="FFE600"/>
      </a:accent2>
      <a:accent3>
        <a:srgbClr val="C4C4CD"/>
      </a:accent3>
      <a:accent4>
        <a:srgbClr val="ECECED"/>
      </a:accent4>
      <a:accent5>
        <a:srgbClr val="000000"/>
      </a:accent5>
      <a:accent6>
        <a:srgbClr val="F6F6FA"/>
      </a:accent6>
      <a:hlink>
        <a:srgbClr val="155CB4"/>
      </a:hlink>
      <a:folHlink>
        <a:srgbClr val="155CB4"/>
      </a:folHlink>
    </a:clrScheme>
    <a:fontScheme name="EY Consulting Font">
      <a:majorFont>
        <a:latin typeface="EYInterstate"/>
        <a:ea typeface="Meiryo UI"/>
        <a:cs typeface=""/>
      </a:majorFont>
      <a:minorFont>
        <a:latin typeface="EYInterstate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9525"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Clr>
            <a:schemeClr val="accent1"/>
          </a:buClr>
          <a:defRPr kumimoji="1" sz="12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08000" tIns="72000" rIns="108000" bIns="72000" rtlCol="0" anchor="t">
        <a:noAutofit/>
      </a:bodyPr>
      <a:lstStyle>
        <a:defPPr marL="174625" indent="-174625" algn="l" defTabSz="1043056" fontAlgn="auto">
          <a:spcBef>
            <a:spcPts val="0"/>
          </a:spcBef>
          <a:spcAft>
            <a:spcPts val="600"/>
          </a:spcAft>
          <a:buClr>
            <a:srgbClr val="747480"/>
          </a:buClr>
          <a:buFont typeface="EYInterstate" panose="02000503020000020004" pitchFamily="2" charset="0"/>
          <a:buChar char="•"/>
          <a:defRPr kumimoji="1" sz="1400" dirty="0" smtClean="0">
            <a:solidFill>
              <a:srgbClr val="2E2E38"/>
            </a:solidFill>
            <a:latin typeface="+mn-lt"/>
            <a:ea typeface="+mn-ea"/>
          </a:defRPr>
        </a:defPPr>
      </a:lstStyle>
    </a:txDef>
  </a:objectDefaults>
  <a:extraClrSchemeLst/>
  <a:custClrLst>
    <a:custClr name="Maroon_01">
      <a:srgbClr val="C981B2"/>
    </a:custClr>
    <a:custClr name="Red_01">
      <a:srgbClr val="FF9A91"/>
    </a:custClr>
    <a:custClr name="Orange_01">
      <a:srgbClr val="FFB46A"/>
    </a:custClr>
    <a:custClr name="Green_01">
      <a:srgbClr val="8CE8AD"/>
    </a:custClr>
    <a:custClr name="Teal_01">
      <a:srgbClr val="93F0E6"/>
    </a:custClr>
    <a:custClr name="Blue_01">
      <a:srgbClr val="87D3F2"/>
    </a:custClr>
    <a:custClr name="Purple_01">
      <a:srgbClr val="9C82D4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2">
      <a:srgbClr val="B14891"/>
    </a:custClr>
    <a:custClr name="Red_02">
      <a:srgbClr val="FF736A"/>
    </a:custClr>
    <a:custClr name="Orange_02">
      <a:srgbClr val="FF9831"/>
    </a:custClr>
    <a:custClr name="Green_02">
      <a:srgbClr val="57E188"/>
    </a:custClr>
    <a:custClr name="Teal_02">
      <a:srgbClr val="60E6E1"/>
    </a:custClr>
    <a:custClr name="Blue_02">
      <a:srgbClr val="4EBEEB"/>
    </a:custClr>
    <a:custClr name="Purple_02">
      <a:srgbClr val="724BC3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4">
      <a:srgbClr val="750E5C"/>
    </a:custClr>
    <a:custClr name="Red_04">
      <a:srgbClr val="FF4136"/>
    </a:custClr>
    <a:custClr name="Orange_04">
      <a:srgbClr val="FF6D00"/>
    </a:custClr>
    <a:custClr name="Green_04">
      <a:srgbClr val="2DB757"/>
    </a:custClr>
    <a:custClr name="Teal_04">
      <a:srgbClr val="27ACAA"/>
    </a:custClr>
    <a:custClr name="Blue_04">
      <a:srgbClr val="188CE5"/>
    </a:custClr>
    <a:custClr name="Purple_04">
      <a:srgbClr val="3D108A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6">
      <a:srgbClr val="42152D"/>
    </a:custClr>
    <a:custClr name="Red_06">
      <a:srgbClr val="B9251C"/>
    </a:custClr>
    <a:custClr name="Orange_06">
      <a:srgbClr val="EB4F00"/>
    </a:custClr>
    <a:custClr name="Green_06">
      <a:srgbClr val="168756"/>
    </a:custClr>
    <a:custClr name="Teal_06">
      <a:srgbClr val="0D7575"/>
    </a:custClr>
    <a:custClr name="Blue_06">
      <a:srgbClr val="155CB4"/>
    </a:custClr>
    <a:custClr name="Purple_06">
      <a:srgbClr val="0A095A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7">
      <a:srgbClr val="351C21"/>
    </a:custClr>
    <a:custClr name="Red_07">
      <a:srgbClr val="7A130D"/>
    </a:custClr>
    <a:custClr name="Orange_07">
      <a:srgbClr val="BC2F00"/>
    </a:custClr>
    <a:custClr name="Green_07">
      <a:srgbClr val="13652A"/>
    </a:custClr>
    <a:custClr name="Teal_07">
      <a:srgbClr val="004F4F"/>
    </a:custClr>
    <a:custClr name="Blue_07">
      <a:srgbClr val="082C65"/>
    </a:custClr>
    <a:custClr name="Purple_07">
      <a:srgbClr val="15173E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Consulting Template-1a Proposal A4 Landscape JPN 20230112 (v2.3).pptx" id="{22DD5A6E-C743-400A-8CEB-3BCF6DF8A695}" vid="{85D825DC-E6AD-4B21-BBB0-1837C06AF8C2}"/>
    </a:ext>
  </a:extLst>
</a:theme>
</file>

<file path=ppt/theme/theme6.xml><?xml version="1.0" encoding="utf-8"?>
<a:theme xmlns:a="http://schemas.openxmlformats.org/drawingml/2006/main" name="Office テーマ">
  <a:themeElements>
    <a:clrScheme name="">
      <a:dk1>
        <a:srgbClr val="000000"/>
      </a:dk1>
      <a:lt1>
        <a:srgbClr val="FFFFFF"/>
      </a:lt1>
      <a:dk2>
        <a:srgbClr val="FDC204"/>
      </a:dk2>
      <a:lt2>
        <a:srgbClr val="FFFFFF"/>
      </a:lt2>
      <a:accent1>
        <a:srgbClr val="F00000"/>
      </a:accent1>
      <a:accent2>
        <a:srgbClr val="00B511"/>
      </a:accent2>
      <a:accent3>
        <a:srgbClr val="FFFFFF"/>
      </a:accent3>
      <a:accent4>
        <a:srgbClr val="000000"/>
      </a:accent4>
      <a:accent5>
        <a:srgbClr val="F6AAAA"/>
      </a:accent5>
      <a:accent6>
        <a:srgbClr val="00A40E"/>
      </a:accent6>
      <a:hlink>
        <a:srgbClr val="F66708"/>
      </a:hlink>
      <a:folHlink>
        <a:srgbClr val="0097E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6717989-ec73-49ef-aca2-79071459e7cb">
      <Terms xmlns="http://schemas.microsoft.com/office/infopath/2007/PartnerControls"/>
    </lcf76f155ced4ddcb4097134ff3c332f>
    <TaxCatchAll xmlns="e0f571e7-3c9e-454e-b87e-9d90f38bcbc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F6B80D67ABA43D499FC99F88F23370FC" ma:contentTypeVersion="14" ma:contentTypeDescription="新しいドキュメントを作成します。" ma:contentTypeScope="" ma:versionID="b965b8ba04734a73c6acec4a8e8afd40">
  <xsd:schema xmlns:xsd="http://www.w3.org/2001/XMLSchema" xmlns:xs="http://www.w3.org/2001/XMLSchema" xmlns:p="http://schemas.microsoft.com/office/2006/metadata/properties" xmlns:ns2="e6717989-ec73-49ef-aca2-79071459e7cb" xmlns:ns3="e0f571e7-3c9e-454e-b87e-9d90f38bcbc4" targetNamespace="http://schemas.microsoft.com/office/2006/metadata/properties" ma:root="true" ma:fieldsID="94df2a25764fbb14335105b8a08444a6" ns2:_="" ns3:_="">
    <xsd:import namespace="e6717989-ec73-49ef-aca2-79071459e7cb"/>
    <xsd:import namespace="e0f571e7-3c9e-454e-b87e-9d90f38bcbc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717989-ec73-49ef-aca2-79071459e7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画像タグ" ma:readOnly="false" ma:fieldId="{5cf76f15-5ced-4ddc-b409-7134ff3c332f}" ma:taxonomyMulti="true" ma:sspId="6ebeabc6-1c0c-4751-aeab-3e30fad09a7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f571e7-3c9e-454e-b87e-9d90f38bcbc4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5ca626b8-c940-45a3-a165-c8fe22425e20}" ma:internalName="TaxCatchAll" ma:showField="CatchAllData" ma:web="e0f571e7-3c9e-454e-b87e-9d90f38bcbc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84A69C-59A4-4C33-ABFD-17CE3F61F301}">
  <ds:schemaRefs>
    <ds:schemaRef ds:uri="http://www.w3.org/XML/1998/namespace"/>
    <ds:schemaRef ds:uri="http://purl.org/dc/dcmitype/"/>
    <ds:schemaRef ds:uri="e0f571e7-3c9e-454e-b87e-9d90f38bcbc4"/>
    <ds:schemaRef ds:uri="http://purl.org/dc/terms/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e6717989-ec73-49ef-aca2-79071459e7cb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B78BC96B-43CA-4930-9754-054AB8B5B17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64BCBD1-CD40-48C2-994A-0D1CCC2E6AF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717989-ec73-49ef-aca2-79071459e7cb"/>
    <ds:schemaRef ds:uri="e0f571e7-3c9e-454e-b87e-9d90f38bcbc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nsulting Template-1a Proposal A4 Landscape JPN 20220308 (v2.2)</Template>
  <TotalTime>0</TotalTime>
  <Words>240</Words>
  <Application>Microsoft Office PowerPoint</Application>
  <PresentationFormat>ユーザー設定</PresentationFormat>
  <Paragraphs>43</Paragraphs>
  <Slides>6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5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6</vt:i4>
      </vt:variant>
    </vt:vector>
  </HeadingPairs>
  <TitlesOfParts>
    <vt:vector size="17" baseType="lpstr">
      <vt:lpstr>EYInterstate</vt:lpstr>
      <vt:lpstr>EYInterstate Light</vt:lpstr>
      <vt:lpstr>游ゴシック</vt:lpstr>
      <vt:lpstr>游ゴシック Light</vt:lpstr>
      <vt:lpstr>Arial</vt:lpstr>
      <vt:lpstr>Consulting Template-1a Proposal v2.2</vt:lpstr>
      <vt:lpstr>デザインの設定</vt:lpstr>
      <vt:lpstr>Consulting Template-2a Presentation (White) v1.6</vt:lpstr>
      <vt:lpstr>1_Consulting Template-1a Proposal v2.2</vt:lpstr>
      <vt:lpstr>Consulting Template-1a Proposal v2.3</vt:lpstr>
      <vt:lpstr>think-cell スライド</vt:lpstr>
      <vt:lpstr>観光データ利活用に関して -現状把握実態ワークシート-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公募の手引き</dc:title>
  <dc:subject/>
  <dc:creator/>
  <cp:keywords/>
  <cp:lastModifiedBy/>
  <cp:revision>3</cp:revision>
  <dcterms:created xsi:type="dcterms:W3CDTF">2023-06-15T07:58:16Z</dcterms:created>
  <dcterms:modified xsi:type="dcterms:W3CDTF">2024-01-24T15:03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C80667073EC44E4895287029B1C221BE</vt:lpwstr>
  </property>
</Properties>
</file>